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344" r:id="rId2"/>
    <p:sldId id="386" r:id="rId3"/>
    <p:sldId id="368" r:id="rId4"/>
    <p:sldId id="399" r:id="rId5"/>
    <p:sldId id="371" r:id="rId6"/>
    <p:sldId id="400" r:id="rId7"/>
    <p:sldId id="374" r:id="rId8"/>
    <p:sldId id="375" r:id="rId9"/>
    <p:sldId id="376" r:id="rId10"/>
    <p:sldId id="401" r:id="rId11"/>
    <p:sldId id="402" r:id="rId12"/>
    <p:sldId id="403" r:id="rId13"/>
    <p:sldId id="404" r:id="rId14"/>
    <p:sldId id="407" r:id="rId15"/>
    <p:sldId id="405" r:id="rId16"/>
    <p:sldId id="406" r:id="rId17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588" autoAdjust="0"/>
    <p:restoredTop sz="88748" autoAdjust="0"/>
  </p:normalViewPr>
  <p:slideViewPr>
    <p:cSldViewPr>
      <p:cViewPr>
        <p:scale>
          <a:sx n="26" d="100"/>
          <a:sy n="26" d="100"/>
        </p:scale>
        <p:origin x="-1200" y="-47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3AF4679-F193-1747-9924-4EE554297690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DA8BA53E-241E-2940-880B-47F6FD534DFE}">
      <dgm:prSet/>
      <dgm:spPr/>
      <dgm:t>
        <a:bodyPr/>
        <a:lstStyle/>
        <a:p>
          <a:pPr rtl="0"/>
          <a:r>
            <a:rPr lang="en-US" dirty="0" smtClean="0"/>
            <a:t>The ease with which software can be made to demonstrate its faults through testing</a:t>
          </a:r>
          <a:endParaRPr lang="en-US" dirty="0"/>
        </a:p>
      </dgm:t>
    </dgm:pt>
    <dgm:pt modelId="{29AD6C72-D841-0649-AF2D-B6D79CE70FC4}" type="parTrans" cxnId="{CAE87097-2746-C444-AE59-D20B19425A57}">
      <dgm:prSet/>
      <dgm:spPr/>
      <dgm:t>
        <a:bodyPr/>
        <a:lstStyle/>
        <a:p>
          <a:endParaRPr lang="en-US"/>
        </a:p>
      </dgm:t>
    </dgm:pt>
    <dgm:pt modelId="{EE72D1F7-93AB-0941-819C-D88FC84CDCB4}" type="sibTrans" cxnId="{CAE87097-2746-C444-AE59-D20B19425A57}">
      <dgm:prSet/>
      <dgm:spPr/>
      <dgm:t>
        <a:bodyPr/>
        <a:lstStyle/>
        <a:p>
          <a:endParaRPr lang="en-US"/>
        </a:p>
      </dgm:t>
    </dgm:pt>
    <dgm:pt modelId="{E933940D-8A2F-7944-AA67-B1074A7ED2CA}">
      <dgm:prSet/>
      <dgm:spPr/>
      <dgm:t>
        <a:bodyPr/>
        <a:lstStyle/>
        <a:p>
          <a:pPr rtl="0"/>
          <a:r>
            <a:rPr lang="en-US" dirty="0" smtClean="0"/>
            <a:t>If a fault is present in a system, then we want it to fail during testing as quickly as possible.</a:t>
          </a:r>
          <a:endParaRPr lang="en-US" dirty="0"/>
        </a:p>
      </dgm:t>
    </dgm:pt>
    <dgm:pt modelId="{F9F35456-94B6-8B4D-9785-4E23684589B0}" type="parTrans" cxnId="{B49431A2-4346-E145-B634-CDDAA539AB5D}">
      <dgm:prSet/>
      <dgm:spPr/>
      <dgm:t>
        <a:bodyPr/>
        <a:lstStyle/>
        <a:p>
          <a:endParaRPr lang="en-US"/>
        </a:p>
      </dgm:t>
    </dgm:pt>
    <dgm:pt modelId="{81F65799-9E67-254E-9BE6-8BE874244DAC}" type="sibTrans" cxnId="{B49431A2-4346-E145-B634-CDDAA539AB5D}">
      <dgm:prSet/>
      <dgm:spPr/>
      <dgm:t>
        <a:bodyPr/>
        <a:lstStyle/>
        <a:p>
          <a:endParaRPr lang="en-US"/>
        </a:p>
      </dgm:t>
    </dgm:pt>
    <dgm:pt modelId="{0C12F1AE-A9C8-D44E-8360-B5D28D0F00DF}">
      <dgm:prSet/>
      <dgm:spPr/>
      <dgm:t>
        <a:bodyPr/>
        <a:lstStyle/>
        <a:p>
          <a:pPr rtl="0"/>
          <a:r>
            <a:rPr lang="en-US" dirty="0" smtClean="0"/>
            <a:t>At least 40% effort goes for testing</a:t>
          </a:r>
          <a:endParaRPr lang="en-US" dirty="0"/>
        </a:p>
      </dgm:t>
    </dgm:pt>
    <dgm:pt modelId="{FF4D5C37-4D78-4547-8F8B-21474BEFF054}" type="parTrans" cxnId="{7E381D51-75BA-4940-AA3A-13C88E9E0D32}">
      <dgm:prSet/>
      <dgm:spPr/>
      <dgm:t>
        <a:bodyPr/>
        <a:lstStyle/>
        <a:p>
          <a:endParaRPr lang="en-US"/>
        </a:p>
      </dgm:t>
    </dgm:pt>
    <dgm:pt modelId="{9B1AB8A0-D108-2645-921B-E1165F7C67F7}" type="sibTrans" cxnId="{7E381D51-75BA-4940-AA3A-13C88E9E0D32}">
      <dgm:prSet/>
      <dgm:spPr/>
      <dgm:t>
        <a:bodyPr/>
        <a:lstStyle/>
        <a:p>
          <a:endParaRPr lang="en-US"/>
        </a:p>
      </dgm:t>
    </dgm:pt>
    <dgm:pt modelId="{AB9EA0A0-5FC6-634C-9494-C51C65EDDCF7}">
      <dgm:prSet/>
      <dgm:spPr/>
      <dgm:t>
        <a:bodyPr/>
        <a:lstStyle/>
        <a:p>
          <a:pPr rtl="0"/>
          <a:r>
            <a:rPr lang="en-US" dirty="0" smtClean="0"/>
            <a:t>Done by developers, testers, and verifiers (tools)</a:t>
          </a:r>
          <a:endParaRPr lang="en-US" dirty="0"/>
        </a:p>
      </dgm:t>
    </dgm:pt>
    <dgm:pt modelId="{A7659B1B-AAF4-6646-A65E-8BE8F1591199}" type="parTrans" cxnId="{880773B9-B8F0-E045-ABD3-993630DD94DF}">
      <dgm:prSet/>
      <dgm:spPr/>
      <dgm:t>
        <a:bodyPr/>
        <a:lstStyle/>
        <a:p>
          <a:endParaRPr lang="en-US"/>
        </a:p>
      </dgm:t>
    </dgm:pt>
    <dgm:pt modelId="{9B0AECF1-B32B-8D45-89A9-2381003D3618}" type="sibTrans" cxnId="{880773B9-B8F0-E045-ABD3-993630DD94DF}">
      <dgm:prSet/>
      <dgm:spPr/>
      <dgm:t>
        <a:bodyPr/>
        <a:lstStyle/>
        <a:p>
          <a:endParaRPr lang="en-US"/>
        </a:p>
      </dgm:t>
    </dgm:pt>
    <dgm:pt modelId="{CB10B192-C48E-4143-BBA1-AC37481FCF06}">
      <dgm:prSet/>
      <dgm:spPr/>
      <dgm:t>
        <a:bodyPr/>
        <a:lstStyle/>
        <a:p>
          <a:pPr rtl="0"/>
          <a:r>
            <a:rPr lang="en-US" dirty="0" smtClean="0"/>
            <a:t>Specialized software for testing</a:t>
          </a:r>
          <a:endParaRPr lang="en-US" dirty="0"/>
        </a:p>
      </dgm:t>
    </dgm:pt>
    <dgm:pt modelId="{B1494B1C-5323-4143-B2FB-653532FF976D}" type="parTrans" cxnId="{F3894E02-EC6C-6144-9DD7-C1039E1D1440}">
      <dgm:prSet/>
      <dgm:spPr/>
      <dgm:t>
        <a:bodyPr/>
        <a:lstStyle/>
        <a:p>
          <a:endParaRPr lang="en-US"/>
        </a:p>
      </dgm:t>
    </dgm:pt>
    <dgm:pt modelId="{EE10C929-C95B-344B-A147-73DDCE74636E}" type="sibTrans" cxnId="{F3894E02-EC6C-6144-9DD7-C1039E1D1440}">
      <dgm:prSet/>
      <dgm:spPr/>
      <dgm:t>
        <a:bodyPr/>
        <a:lstStyle/>
        <a:p>
          <a:endParaRPr lang="en-US"/>
        </a:p>
      </dgm:t>
    </dgm:pt>
    <dgm:pt modelId="{9E462C08-0787-6045-A497-EFDD1362C593}">
      <dgm:prSet/>
      <dgm:spPr/>
      <dgm:t>
        <a:bodyPr/>
        <a:lstStyle/>
        <a:p>
          <a:pPr rtl="0"/>
          <a:r>
            <a:rPr lang="en-US" dirty="0" smtClean="0"/>
            <a:t>Test harness</a:t>
          </a:r>
          <a:endParaRPr lang="en-US" dirty="0"/>
        </a:p>
      </dgm:t>
    </dgm:pt>
    <dgm:pt modelId="{34668342-C784-634F-BB18-24E3F353D519}" type="parTrans" cxnId="{E335649A-5877-C841-9C2B-5F07A72F6C99}">
      <dgm:prSet/>
      <dgm:spPr/>
      <dgm:t>
        <a:bodyPr/>
        <a:lstStyle/>
        <a:p>
          <a:endParaRPr lang="en-US"/>
        </a:p>
      </dgm:t>
    </dgm:pt>
    <dgm:pt modelId="{1C505070-EFE0-E644-A1D0-4265B588A02C}" type="sibTrans" cxnId="{E335649A-5877-C841-9C2B-5F07A72F6C99}">
      <dgm:prSet/>
      <dgm:spPr/>
      <dgm:t>
        <a:bodyPr/>
        <a:lstStyle/>
        <a:p>
          <a:endParaRPr lang="en-US"/>
        </a:p>
      </dgm:t>
    </dgm:pt>
    <dgm:pt modelId="{6E211762-19B6-EA4A-B065-F54E465FEB76}">
      <dgm:prSet/>
      <dgm:spPr/>
      <dgm:t>
        <a:bodyPr/>
        <a:lstStyle/>
        <a:p>
          <a:pPr rtl="0"/>
          <a:r>
            <a:rPr lang="en-US" dirty="0" smtClean="0"/>
            <a:t>Simple playback capability </a:t>
          </a:r>
          <a:endParaRPr lang="en-US" dirty="0"/>
        </a:p>
      </dgm:t>
    </dgm:pt>
    <dgm:pt modelId="{C72BF185-0FD2-4B40-B989-9BEE24E71667}" type="parTrans" cxnId="{EFEB886E-2B38-214F-A947-AC7618C831EF}">
      <dgm:prSet/>
      <dgm:spPr/>
      <dgm:t>
        <a:bodyPr/>
        <a:lstStyle/>
        <a:p>
          <a:endParaRPr lang="en-US"/>
        </a:p>
      </dgm:t>
    </dgm:pt>
    <dgm:pt modelId="{82FAE89F-CC73-7E4E-B9FF-D0AC6C28E5FA}" type="sibTrans" cxnId="{EFEB886E-2B38-214F-A947-AC7618C831EF}">
      <dgm:prSet/>
      <dgm:spPr/>
      <dgm:t>
        <a:bodyPr/>
        <a:lstStyle/>
        <a:p>
          <a:endParaRPr lang="en-US"/>
        </a:p>
      </dgm:t>
    </dgm:pt>
    <dgm:pt modelId="{FA5A63CD-9FFC-F24B-85E7-17867D54AFEA}">
      <dgm:prSet/>
      <dgm:spPr/>
      <dgm:t>
        <a:bodyPr/>
        <a:lstStyle/>
        <a:p>
          <a:pPr rtl="0"/>
          <a:r>
            <a:rPr lang="en-US" dirty="0" smtClean="0"/>
            <a:t>Specialized testing chamber</a:t>
          </a:r>
          <a:endParaRPr lang="en-US" dirty="0"/>
        </a:p>
      </dgm:t>
    </dgm:pt>
    <dgm:pt modelId="{FBA3770C-EC34-9C47-86FB-6931784CBE85}" type="parTrans" cxnId="{F9350E00-0597-D340-98DB-88118963F2D8}">
      <dgm:prSet/>
      <dgm:spPr/>
      <dgm:t>
        <a:bodyPr/>
        <a:lstStyle/>
        <a:p>
          <a:endParaRPr lang="en-US"/>
        </a:p>
      </dgm:t>
    </dgm:pt>
    <dgm:pt modelId="{E6FDF77B-16A4-FB47-8850-3530E8B03D18}" type="sibTrans" cxnId="{F9350E00-0597-D340-98DB-88118963F2D8}">
      <dgm:prSet/>
      <dgm:spPr/>
      <dgm:t>
        <a:bodyPr/>
        <a:lstStyle/>
        <a:p>
          <a:endParaRPr lang="en-US"/>
        </a:p>
      </dgm:t>
    </dgm:pt>
    <dgm:pt modelId="{29EDBAED-776B-734E-9B12-42C95AA72439}" type="pres">
      <dgm:prSet presAssocID="{A3AF4679-F193-1747-9924-4EE55429769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83D180C-73E9-B840-BD72-21C9A69F1988}" type="pres">
      <dgm:prSet presAssocID="{DA8BA53E-241E-2940-880B-47F6FD534DFE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740CDE6-C651-5D4C-A81F-1D4A13A8FA73}" type="pres">
      <dgm:prSet presAssocID="{EE72D1F7-93AB-0941-819C-D88FC84CDCB4}" presName="spacer" presStyleCnt="0"/>
      <dgm:spPr/>
    </dgm:pt>
    <dgm:pt modelId="{12A089A2-C59E-5A4A-8729-7B5E014A41EF}" type="pres">
      <dgm:prSet presAssocID="{E933940D-8A2F-7944-AA67-B1074A7ED2CA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DC31B8-9FA2-1C41-94D8-77685A50DA2B}" type="pres">
      <dgm:prSet presAssocID="{81F65799-9E67-254E-9BE6-8BE874244DAC}" presName="spacer" presStyleCnt="0"/>
      <dgm:spPr/>
    </dgm:pt>
    <dgm:pt modelId="{0574FA96-6485-5141-915A-756F924053C5}" type="pres">
      <dgm:prSet presAssocID="{0C12F1AE-A9C8-D44E-8360-B5D28D0F00DF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B1F90D-8D78-0C4F-A35F-F6EA2218C4DF}" type="pres">
      <dgm:prSet presAssocID="{0C12F1AE-A9C8-D44E-8360-B5D28D0F00DF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D3425A9-412E-8749-AD02-D2AB764B9901}" type="pres">
      <dgm:prSet presAssocID="{CB10B192-C48E-4143-BBA1-AC37481FCF06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6B9C42-2FBB-4D47-9581-36943B2552DF}" type="pres">
      <dgm:prSet presAssocID="{CB10B192-C48E-4143-BBA1-AC37481FCF06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85D3B1D-82A0-EB42-8BC3-F25AADB00A3D}" type="presOf" srcId="{E933940D-8A2F-7944-AA67-B1074A7ED2CA}" destId="{12A089A2-C59E-5A4A-8729-7B5E014A41EF}" srcOrd="0" destOrd="0" presId="urn:microsoft.com/office/officeart/2005/8/layout/vList2"/>
    <dgm:cxn modelId="{E335649A-5877-C841-9C2B-5F07A72F6C99}" srcId="{CB10B192-C48E-4143-BBA1-AC37481FCF06}" destId="{9E462C08-0787-6045-A497-EFDD1362C593}" srcOrd="0" destOrd="0" parTransId="{34668342-C784-634F-BB18-24E3F353D519}" sibTransId="{1C505070-EFE0-E644-A1D0-4265B588A02C}"/>
    <dgm:cxn modelId="{F3894E02-EC6C-6144-9DD7-C1039E1D1440}" srcId="{A3AF4679-F193-1747-9924-4EE554297690}" destId="{CB10B192-C48E-4143-BBA1-AC37481FCF06}" srcOrd="3" destOrd="0" parTransId="{B1494B1C-5323-4143-B2FB-653532FF976D}" sibTransId="{EE10C929-C95B-344B-A147-73DDCE74636E}"/>
    <dgm:cxn modelId="{B49431A2-4346-E145-B634-CDDAA539AB5D}" srcId="{A3AF4679-F193-1747-9924-4EE554297690}" destId="{E933940D-8A2F-7944-AA67-B1074A7ED2CA}" srcOrd="1" destOrd="0" parTransId="{F9F35456-94B6-8B4D-9785-4E23684589B0}" sibTransId="{81F65799-9E67-254E-9BE6-8BE874244DAC}"/>
    <dgm:cxn modelId="{18ADC23D-7B1C-AA45-BEFB-60F7AA617940}" type="presOf" srcId="{A3AF4679-F193-1747-9924-4EE554297690}" destId="{29EDBAED-776B-734E-9B12-42C95AA72439}" srcOrd="0" destOrd="0" presId="urn:microsoft.com/office/officeart/2005/8/layout/vList2"/>
    <dgm:cxn modelId="{C82AF2E8-15A9-C245-8046-6CD0C9C7573C}" type="presOf" srcId="{FA5A63CD-9FFC-F24B-85E7-17867D54AFEA}" destId="{696B9C42-2FBB-4D47-9581-36943B2552DF}" srcOrd="0" destOrd="2" presId="urn:microsoft.com/office/officeart/2005/8/layout/vList2"/>
    <dgm:cxn modelId="{EFEB886E-2B38-214F-A947-AC7618C831EF}" srcId="{CB10B192-C48E-4143-BBA1-AC37481FCF06}" destId="{6E211762-19B6-EA4A-B065-F54E465FEB76}" srcOrd="1" destOrd="0" parTransId="{C72BF185-0FD2-4B40-B989-9BEE24E71667}" sibTransId="{82FAE89F-CC73-7E4E-B9FF-D0AC6C28E5FA}"/>
    <dgm:cxn modelId="{38D15ECF-1783-7D41-A7A2-10717FE5ADE2}" type="presOf" srcId="{0C12F1AE-A9C8-D44E-8360-B5D28D0F00DF}" destId="{0574FA96-6485-5141-915A-756F924053C5}" srcOrd="0" destOrd="0" presId="urn:microsoft.com/office/officeart/2005/8/layout/vList2"/>
    <dgm:cxn modelId="{CAE87097-2746-C444-AE59-D20B19425A57}" srcId="{A3AF4679-F193-1747-9924-4EE554297690}" destId="{DA8BA53E-241E-2940-880B-47F6FD534DFE}" srcOrd="0" destOrd="0" parTransId="{29AD6C72-D841-0649-AF2D-B6D79CE70FC4}" sibTransId="{EE72D1F7-93AB-0941-819C-D88FC84CDCB4}"/>
    <dgm:cxn modelId="{880773B9-B8F0-E045-ABD3-993630DD94DF}" srcId="{0C12F1AE-A9C8-D44E-8360-B5D28D0F00DF}" destId="{AB9EA0A0-5FC6-634C-9494-C51C65EDDCF7}" srcOrd="0" destOrd="0" parTransId="{A7659B1B-AAF4-6646-A65E-8BE8F1591199}" sibTransId="{9B0AECF1-B32B-8D45-89A9-2381003D3618}"/>
    <dgm:cxn modelId="{0C47C23F-0EC8-5F42-B391-59A1B826AFFA}" type="presOf" srcId="{6E211762-19B6-EA4A-B065-F54E465FEB76}" destId="{696B9C42-2FBB-4D47-9581-36943B2552DF}" srcOrd="0" destOrd="1" presId="urn:microsoft.com/office/officeart/2005/8/layout/vList2"/>
    <dgm:cxn modelId="{6648DDDF-0B82-FA45-8BB5-A86441264C94}" type="presOf" srcId="{AB9EA0A0-5FC6-634C-9494-C51C65EDDCF7}" destId="{E8B1F90D-8D78-0C4F-A35F-F6EA2218C4DF}" srcOrd="0" destOrd="0" presId="urn:microsoft.com/office/officeart/2005/8/layout/vList2"/>
    <dgm:cxn modelId="{7E381D51-75BA-4940-AA3A-13C88E9E0D32}" srcId="{A3AF4679-F193-1747-9924-4EE554297690}" destId="{0C12F1AE-A9C8-D44E-8360-B5D28D0F00DF}" srcOrd="2" destOrd="0" parTransId="{FF4D5C37-4D78-4547-8F8B-21474BEFF054}" sibTransId="{9B1AB8A0-D108-2645-921B-E1165F7C67F7}"/>
    <dgm:cxn modelId="{4E29A9AC-61EC-0F4F-AA94-F39DF4D83E28}" type="presOf" srcId="{DA8BA53E-241E-2940-880B-47F6FD534DFE}" destId="{983D180C-73E9-B840-BD72-21C9A69F1988}" srcOrd="0" destOrd="0" presId="urn:microsoft.com/office/officeart/2005/8/layout/vList2"/>
    <dgm:cxn modelId="{F9350E00-0597-D340-98DB-88118963F2D8}" srcId="{CB10B192-C48E-4143-BBA1-AC37481FCF06}" destId="{FA5A63CD-9FFC-F24B-85E7-17867D54AFEA}" srcOrd="2" destOrd="0" parTransId="{FBA3770C-EC34-9C47-86FB-6931784CBE85}" sibTransId="{E6FDF77B-16A4-FB47-8850-3530E8B03D18}"/>
    <dgm:cxn modelId="{CF1377EE-A766-B040-B63F-1807EC9F572F}" type="presOf" srcId="{CB10B192-C48E-4143-BBA1-AC37481FCF06}" destId="{3D3425A9-412E-8749-AD02-D2AB764B9901}" srcOrd="0" destOrd="0" presId="urn:microsoft.com/office/officeart/2005/8/layout/vList2"/>
    <dgm:cxn modelId="{601F2C06-0D2D-8D41-8D0A-7BD6691EDD9C}" type="presOf" srcId="{9E462C08-0787-6045-A497-EFDD1362C593}" destId="{696B9C42-2FBB-4D47-9581-36943B2552DF}" srcOrd="0" destOrd="0" presId="urn:microsoft.com/office/officeart/2005/8/layout/vList2"/>
    <dgm:cxn modelId="{498DE9F7-FFC0-754D-B714-4E6817F055FD}" type="presParOf" srcId="{29EDBAED-776B-734E-9B12-42C95AA72439}" destId="{983D180C-73E9-B840-BD72-21C9A69F1988}" srcOrd="0" destOrd="0" presId="urn:microsoft.com/office/officeart/2005/8/layout/vList2"/>
    <dgm:cxn modelId="{3146617B-44B7-3049-897F-93EA7484FE0C}" type="presParOf" srcId="{29EDBAED-776B-734E-9B12-42C95AA72439}" destId="{0740CDE6-C651-5D4C-A81F-1D4A13A8FA73}" srcOrd="1" destOrd="0" presId="urn:microsoft.com/office/officeart/2005/8/layout/vList2"/>
    <dgm:cxn modelId="{99EEB932-646B-7B45-8FA9-0C743F2E136C}" type="presParOf" srcId="{29EDBAED-776B-734E-9B12-42C95AA72439}" destId="{12A089A2-C59E-5A4A-8729-7B5E014A41EF}" srcOrd="2" destOrd="0" presId="urn:microsoft.com/office/officeart/2005/8/layout/vList2"/>
    <dgm:cxn modelId="{A3801912-00D8-CE44-BAFE-5ED6B02E9C53}" type="presParOf" srcId="{29EDBAED-776B-734E-9B12-42C95AA72439}" destId="{3EDC31B8-9FA2-1C41-94D8-77685A50DA2B}" srcOrd="3" destOrd="0" presId="urn:microsoft.com/office/officeart/2005/8/layout/vList2"/>
    <dgm:cxn modelId="{F8639972-1E74-0143-A849-31CE628DE012}" type="presParOf" srcId="{29EDBAED-776B-734E-9B12-42C95AA72439}" destId="{0574FA96-6485-5141-915A-756F924053C5}" srcOrd="4" destOrd="0" presId="urn:microsoft.com/office/officeart/2005/8/layout/vList2"/>
    <dgm:cxn modelId="{B081FEBB-7C5E-FF41-B9A3-7521461D1D5A}" type="presParOf" srcId="{29EDBAED-776B-734E-9B12-42C95AA72439}" destId="{E8B1F90D-8D78-0C4F-A35F-F6EA2218C4DF}" srcOrd="5" destOrd="0" presId="urn:microsoft.com/office/officeart/2005/8/layout/vList2"/>
    <dgm:cxn modelId="{1A953180-173A-0641-8E69-B52CF6CE22F8}" type="presParOf" srcId="{29EDBAED-776B-734E-9B12-42C95AA72439}" destId="{3D3425A9-412E-8749-AD02-D2AB764B9901}" srcOrd="6" destOrd="0" presId="urn:microsoft.com/office/officeart/2005/8/layout/vList2"/>
    <dgm:cxn modelId="{FA6B4B35-9CAA-1B44-9143-040B821596F8}" type="presParOf" srcId="{29EDBAED-776B-734E-9B12-42C95AA72439}" destId="{696B9C42-2FBB-4D47-9581-36943B2552DF}" srcOrd="7" destOrd="0" presId="urn:microsoft.com/office/officeart/2005/8/layout/vList2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orgChart1" loCatId="hierarchy" qsTypeId="urn:microsoft.com/office/officeart/2005/8/quickstyle/simple3" qsCatId="simple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43BDC9E6-B3ED-4E11-B81F-A36F96CA06AD}">
      <dgm:prSet custT="1"/>
      <dgm:spPr/>
      <dgm:t>
        <a:bodyPr/>
        <a:lstStyle/>
        <a:p>
          <a:pPr rtl="0"/>
          <a:r>
            <a:rPr lang="en-US" sz="1800" dirty="0" smtClean="0"/>
            <a:t>Testability</a:t>
          </a:r>
          <a:endParaRPr lang="en-US" sz="1800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 sz="3600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 sz="3600"/>
        </a:p>
      </dgm:t>
    </dgm:pt>
    <dgm:pt modelId="{843E3B21-DC9F-4CF8-A7F1-93BF704E47A7}">
      <dgm:prSet custT="1"/>
      <dgm:spPr/>
      <dgm:t>
        <a:bodyPr/>
        <a:lstStyle/>
        <a:p>
          <a:pPr rtl="0"/>
          <a:r>
            <a:rPr lang="en-US" sz="1600" dirty="0" smtClean="0"/>
            <a:t>Manage controllability and </a:t>
          </a:r>
          <a:r>
            <a:rPr lang="en-US" sz="1600" dirty="0" err="1" smtClean="0"/>
            <a:t>Observability</a:t>
          </a:r>
          <a:endParaRPr lang="en-US" sz="1600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 sz="3600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 sz="3600"/>
        </a:p>
      </dgm:t>
    </dgm:pt>
    <dgm:pt modelId="{A240A1E1-162D-4A6E-A806-B6FF45B3AB68}">
      <dgm:prSet custT="1"/>
      <dgm:spPr/>
      <dgm:t>
        <a:bodyPr/>
        <a:lstStyle/>
        <a:p>
          <a:pPr rtl="0"/>
          <a:r>
            <a:rPr lang="en-US" sz="1600" dirty="0" smtClean="0"/>
            <a:t>Limit Structural complexity</a:t>
          </a:r>
          <a:endParaRPr lang="en-US" sz="1600" dirty="0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 sz="3600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 sz="3600"/>
        </a:p>
      </dgm:t>
    </dgm:pt>
    <dgm:pt modelId="{E420C67E-C4C2-476B-9B47-FFB47D587009}">
      <dgm:prSet custT="1"/>
      <dgm:spPr/>
      <dgm:t>
        <a:bodyPr/>
        <a:lstStyle/>
        <a:p>
          <a:pPr rtl="0"/>
          <a:r>
            <a:rPr lang="en-US" sz="1600" dirty="0" smtClean="0"/>
            <a:t>Internal Monitoring</a:t>
          </a:r>
          <a:endParaRPr lang="en-US" sz="1600" dirty="0"/>
        </a:p>
      </dgm:t>
    </dgm:pt>
    <dgm:pt modelId="{65D088B7-B36E-49AA-84B9-2BC51B326EA1}" type="parTrans" cxnId="{2AC6A1A2-FDAF-4C07-BF93-78DC05214544}">
      <dgm:prSet/>
      <dgm:spPr/>
      <dgm:t>
        <a:bodyPr/>
        <a:lstStyle/>
        <a:p>
          <a:endParaRPr lang="en-US" sz="3600"/>
        </a:p>
      </dgm:t>
    </dgm:pt>
    <dgm:pt modelId="{7CC715FB-928E-4CFE-A8F5-045F16B2D743}" type="sibTrans" cxnId="{2AC6A1A2-FDAF-4C07-BF93-78DC05214544}">
      <dgm:prSet/>
      <dgm:spPr/>
      <dgm:t>
        <a:bodyPr/>
        <a:lstStyle/>
        <a:p>
          <a:endParaRPr lang="en-US" sz="3600"/>
        </a:p>
      </dgm:t>
    </dgm:pt>
    <dgm:pt modelId="{1CE2D78B-C788-472A-8424-7F9A4AB5205E}">
      <dgm:prSet custT="1"/>
      <dgm:spPr/>
      <dgm:t>
        <a:bodyPr/>
        <a:lstStyle/>
        <a:p>
          <a:pPr rtl="0"/>
          <a:r>
            <a:rPr lang="en-US" sz="1600" dirty="0" smtClean="0"/>
            <a:t>Manage Complexity</a:t>
          </a:r>
          <a:endParaRPr lang="en-US" sz="1600" dirty="0"/>
        </a:p>
      </dgm:t>
    </dgm:pt>
    <dgm:pt modelId="{6ED4E1AA-EFDD-4E70-836E-3DB36084DE98}" type="parTrans" cxnId="{0D252A7C-EA88-478B-9AB7-96B65AE1E68A}">
      <dgm:prSet/>
      <dgm:spPr/>
      <dgm:t>
        <a:bodyPr/>
        <a:lstStyle/>
        <a:p>
          <a:endParaRPr lang="en-US" sz="3600"/>
        </a:p>
      </dgm:t>
    </dgm:pt>
    <dgm:pt modelId="{1D0F051B-C9A8-457A-BE08-985EF4C28172}" type="sibTrans" cxnId="{0D252A7C-EA88-478B-9AB7-96B65AE1E68A}">
      <dgm:prSet/>
      <dgm:spPr/>
      <dgm:t>
        <a:bodyPr/>
        <a:lstStyle/>
        <a:p>
          <a:endParaRPr lang="en-US" sz="3600"/>
        </a:p>
      </dgm:t>
    </dgm:pt>
    <dgm:pt modelId="{35016019-1F0E-47A9-A9CB-AE98C0AFCFC1}">
      <dgm:prSet custT="1"/>
      <dgm:spPr/>
      <dgm:t>
        <a:bodyPr/>
        <a:lstStyle/>
        <a:p>
          <a:pPr rtl="0"/>
          <a:r>
            <a:rPr lang="en-US" sz="1600" dirty="0" smtClean="0"/>
            <a:t>Limit non-determinism</a:t>
          </a:r>
          <a:endParaRPr lang="en-US" sz="1600" dirty="0"/>
        </a:p>
      </dgm:t>
    </dgm:pt>
    <dgm:pt modelId="{A60BCA66-49BB-4275-9110-8B471B3FC59B}" type="parTrans" cxnId="{F0C0AED6-3BFB-430A-84C4-C1842ECA49F1}">
      <dgm:prSet/>
      <dgm:spPr/>
      <dgm:t>
        <a:bodyPr/>
        <a:lstStyle/>
        <a:p>
          <a:endParaRPr lang="en-US" sz="3600"/>
        </a:p>
      </dgm:t>
    </dgm:pt>
    <dgm:pt modelId="{549EC933-326F-43C6-A4AD-B0C6604A5CF9}" type="sibTrans" cxnId="{F0C0AED6-3BFB-430A-84C4-C1842ECA49F1}">
      <dgm:prSet/>
      <dgm:spPr/>
      <dgm:t>
        <a:bodyPr/>
        <a:lstStyle/>
        <a:p>
          <a:endParaRPr lang="en-US" sz="3600"/>
        </a:p>
      </dgm:t>
    </dgm:pt>
    <dgm:pt modelId="{0216D3CF-84E5-4443-8082-6C6C297E9A4D}">
      <dgm:prSet custT="1"/>
      <dgm:spPr/>
      <dgm:t>
        <a:bodyPr/>
        <a:lstStyle/>
        <a:p>
          <a:pPr rtl="0"/>
          <a:r>
            <a:rPr lang="en-US" sz="1600" dirty="0" smtClean="0"/>
            <a:t>Introduce built-in monitor in the system</a:t>
          </a:r>
          <a:endParaRPr lang="en-US" sz="1600" dirty="0"/>
        </a:p>
      </dgm:t>
    </dgm:pt>
    <dgm:pt modelId="{C3334397-F4C9-43FD-9DE7-786437A51BF8}" type="parTrans" cxnId="{EF17C288-FABF-470A-9F6E-6F1AC60C08BE}">
      <dgm:prSet/>
      <dgm:spPr/>
      <dgm:t>
        <a:bodyPr/>
        <a:lstStyle/>
        <a:p>
          <a:endParaRPr lang="en-US" sz="3600"/>
        </a:p>
      </dgm:t>
    </dgm:pt>
    <dgm:pt modelId="{9C27E3D0-AEBB-4C4C-AFEA-8F9AF608B21E}" type="sibTrans" cxnId="{EF17C288-FABF-470A-9F6E-6F1AC60C08BE}">
      <dgm:prSet/>
      <dgm:spPr/>
      <dgm:t>
        <a:bodyPr/>
        <a:lstStyle/>
        <a:p>
          <a:endParaRPr lang="en-US" sz="3600"/>
        </a:p>
      </dgm:t>
    </dgm:pt>
    <dgm:pt modelId="{720AE7B9-47AD-4FF9-8447-DF1B8C5FD193}">
      <dgm:prSet custT="1"/>
      <dgm:spPr/>
      <dgm:t>
        <a:bodyPr/>
        <a:lstStyle/>
        <a:p>
          <a:pPr rtl="0"/>
          <a:r>
            <a:rPr lang="en-US" sz="1600" dirty="0" smtClean="0"/>
            <a:t>Record and playback</a:t>
          </a:r>
          <a:endParaRPr lang="en-US" sz="1600" dirty="0"/>
        </a:p>
      </dgm:t>
    </dgm:pt>
    <dgm:pt modelId="{3722DDF4-26E2-4422-A516-DEEAC3ECF65B}" type="parTrans" cxnId="{C7B12242-93F1-42B1-8149-73B2BE7E9DC0}">
      <dgm:prSet/>
      <dgm:spPr/>
      <dgm:t>
        <a:bodyPr/>
        <a:lstStyle/>
        <a:p>
          <a:endParaRPr lang="en-US" sz="3600"/>
        </a:p>
      </dgm:t>
    </dgm:pt>
    <dgm:pt modelId="{D7F902F3-F976-415B-98C3-59057320C539}" type="sibTrans" cxnId="{C7B12242-93F1-42B1-8149-73B2BE7E9DC0}">
      <dgm:prSet/>
      <dgm:spPr/>
      <dgm:t>
        <a:bodyPr/>
        <a:lstStyle/>
        <a:p>
          <a:endParaRPr lang="en-US" sz="3600"/>
        </a:p>
      </dgm:t>
    </dgm:pt>
    <dgm:pt modelId="{7D7C3FA2-CE75-4B7D-A218-416906B8D917}">
      <dgm:prSet custT="1"/>
      <dgm:spPr/>
      <dgm:t>
        <a:bodyPr/>
        <a:lstStyle/>
        <a:p>
          <a:pPr rtl="0"/>
          <a:r>
            <a:rPr lang="en-US" sz="1600" dirty="0" smtClean="0"/>
            <a:t>Specialized Interface</a:t>
          </a:r>
          <a:endParaRPr lang="en-US" sz="1600" dirty="0"/>
        </a:p>
      </dgm:t>
    </dgm:pt>
    <dgm:pt modelId="{14236E25-24F5-4DBC-8E23-FED5A30DEF0E}" type="parTrans" cxnId="{2648CEB6-4DB9-42A6-B700-4831395E15AC}">
      <dgm:prSet/>
      <dgm:spPr/>
      <dgm:t>
        <a:bodyPr/>
        <a:lstStyle/>
        <a:p>
          <a:endParaRPr lang="en-US" sz="3600"/>
        </a:p>
      </dgm:t>
    </dgm:pt>
    <dgm:pt modelId="{FB40D391-DB77-4C2C-BDCE-7A207CEAE6FE}" type="sibTrans" cxnId="{2648CEB6-4DB9-42A6-B700-4831395E15AC}">
      <dgm:prSet/>
      <dgm:spPr/>
      <dgm:t>
        <a:bodyPr/>
        <a:lstStyle/>
        <a:p>
          <a:endParaRPr lang="en-US" sz="3600"/>
        </a:p>
      </dgm:t>
    </dgm:pt>
    <dgm:pt modelId="{9B931718-FC68-4B2E-9854-492BCFE6FE83}">
      <dgm:prSet custT="1"/>
      <dgm:spPr/>
      <dgm:t>
        <a:bodyPr/>
        <a:lstStyle/>
        <a:p>
          <a:pPr rtl="0"/>
          <a:r>
            <a:rPr lang="en-US" sz="1600" dirty="0" smtClean="0"/>
            <a:t>Separate interface and implementation</a:t>
          </a:r>
          <a:endParaRPr lang="en-US" sz="1600" dirty="0"/>
        </a:p>
      </dgm:t>
    </dgm:pt>
    <dgm:pt modelId="{359E2506-5D19-4F9C-8688-C666576175A9}" type="parTrans" cxnId="{6E2E3B55-A6EB-46D7-B7D0-04629FD4C800}">
      <dgm:prSet/>
      <dgm:spPr/>
      <dgm:t>
        <a:bodyPr/>
        <a:lstStyle/>
        <a:p>
          <a:endParaRPr lang="en-US" sz="3600"/>
        </a:p>
      </dgm:t>
    </dgm:pt>
    <dgm:pt modelId="{3113A228-1208-4305-91A0-AEEDFF54B5B2}" type="sibTrans" cxnId="{6E2E3B55-A6EB-46D7-B7D0-04629FD4C800}">
      <dgm:prSet/>
      <dgm:spPr/>
      <dgm:t>
        <a:bodyPr/>
        <a:lstStyle/>
        <a:p>
          <a:endParaRPr lang="en-US" sz="3600"/>
        </a:p>
      </dgm:t>
    </dgm:pt>
    <dgm:pt modelId="{0B5A8C4E-0287-4775-89CD-4F33BAC9506F}">
      <dgm:prSet custT="1"/>
      <dgm:spPr/>
      <dgm:t>
        <a:bodyPr/>
        <a:lstStyle/>
        <a:p>
          <a:pPr rtl="0"/>
          <a:r>
            <a:rPr lang="en-US" sz="1600" dirty="0" smtClean="0"/>
            <a:t>Executable assertion</a:t>
          </a:r>
          <a:endParaRPr lang="en-US" sz="1600" dirty="0"/>
        </a:p>
      </dgm:t>
    </dgm:pt>
    <dgm:pt modelId="{EF032B47-594B-4FE2-82AA-11F85DCB3B05}" type="parTrans" cxnId="{BF0DC91D-EC32-48A1-86C8-FAB69550103E}">
      <dgm:prSet/>
      <dgm:spPr/>
      <dgm:t>
        <a:bodyPr/>
        <a:lstStyle/>
        <a:p>
          <a:endParaRPr lang="en-US" sz="3600"/>
        </a:p>
      </dgm:t>
    </dgm:pt>
    <dgm:pt modelId="{54EDCA25-2AA2-4C65-8635-EE0E2A7EF78B}" type="sibTrans" cxnId="{BF0DC91D-EC32-48A1-86C8-FAB69550103E}">
      <dgm:prSet/>
      <dgm:spPr/>
      <dgm:t>
        <a:bodyPr/>
        <a:lstStyle/>
        <a:p>
          <a:endParaRPr lang="en-US" sz="3600"/>
        </a:p>
      </dgm:t>
    </dgm:pt>
    <dgm:pt modelId="{952DAF52-AE68-4172-A6FB-BEC966E0D344}">
      <dgm:prSet custT="1"/>
      <dgm:spPr/>
      <dgm:t>
        <a:bodyPr/>
        <a:lstStyle/>
        <a:p>
          <a:pPr rtl="0"/>
          <a:r>
            <a:rPr lang="en-US" sz="1600" dirty="0" smtClean="0"/>
            <a:t>Localize data store</a:t>
          </a:r>
          <a:endParaRPr lang="en-US" sz="1600" dirty="0"/>
        </a:p>
      </dgm:t>
    </dgm:pt>
    <dgm:pt modelId="{E5A2EAE4-118D-44B2-B409-8CEB91FA5E76}" type="parTrans" cxnId="{0A4F78ED-994E-4775-9792-4F8AFB843E13}">
      <dgm:prSet/>
      <dgm:spPr/>
      <dgm:t>
        <a:bodyPr/>
        <a:lstStyle/>
        <a:p>
          <a:endParaRPr lang="en-US" sz="3600"/>
        </a:p>
      </dgm:t>
    </dgm:pt>
    <dgm:pt modelId="{9F184476-99DB-4158-BA52-C9F0136CB0E4}" type="sibTrans" cxnId="{0A4F78ED-994E-4775-9792-4F8AFB843E13}">
      <dgm:prSet/>
      <dgm:spPr/>
      <dgm:t>
        <a:bodyPr/>
        <a:lstStyle/>
        <a:p>
          <a:endParaRPr lang="en-US" sz="3600"/>
        </a:p>
      </dgm:t>
    </dgm:pt>
    <dgm:pt modelId="{5AFDEC37-303D-4C39-871D-86C74E419A23}">
      <dgm:prSet custT="1"/>
      <dgm:spPr/>
      <dgm:t>
        <a:bodyPr/>
        <a:lstStyle/>
        <a:p>
          <a:pPr rtl="0"/>
          <a:r>
            <a:rPr lang="en-US" sz="1600" dirty="0" smtClean="0"/>
            <a:t>Sandbox</a:t>
          </a:r>
          <a:endParaRPr lang="en-US" sz="1600" dirty="0"/>
        </a:p>
      </dgm:t>
    </dgm:pt>
    <dgm:pt modelId="{38271EC2-1F65-43B3-87B0-6BB11652BC0F}" type="parTrans" cxnId="{C3A4E08C-0B25-4A04-8AD3-550D4D86E432}">
      <dgm:prSet/>
      <dgm:spPr/>
      <dgm:t>
        <a:bodyPr/>
        <a:lstStyle/>
        <a:p>
          <a:endParaRPr lang="en-US" sz="3600"/>
        </a:p>
      </dgm:t>
    </dgm:pt>
    <dgm:pt modelId="{157849EC-686C-46C2-98FE-E58DF03FCC11}" type="sibTrans" cxnId="{C3A4E08C-0B25-4A04-8AD3-550D4D86E432}">
      <dgm:prSet/>
      <dgm:spPr/>
      <dgm:t>
        <a:bodyPr/>
        <a:lstStyle/>
        <a:p>
          <a:endParaRPr lang="en-US" sz="3600"/>
        </a:p>
      </dgm:t>
    </dgm:pt>
    <dgm:pt modelId="{E9F5810C-05C5-4937-8779-609DD6BD5CFD}" type="pres">
      <dgm:prSet presAssocID="{A26E1133-27F8-42A1-91FE-23383B9ACC9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A00B3E-FEA8-439F-999E-8DB6BC95DBC0}" type="pres">
      <dgm:prSet presAssocID="{43BDC9E6-B3ED-4E11-B81F-A36F96CA06AD}" presName="hierRoot1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305CB9B7-E4C6-453D-AC39-1DA3FA25C576}" type="pres">
      <dgm:prSet presAssocID="{43BDC9E6-B3ED-4E11-B81F-A36F96CA06AD}" presName="rootComposite1" presStyleCnt="0"/>
      <dgm:spPr/>
      <dgm:t>
        <a:bodyPr/>
        <a:lstStyle/>
        <a:p>
          <a:endParaRPr lang="en-US"/>
        </a:p>
      </dgm:t>
    </dgm:pt>
    <dgm:pt modelId="{1AD90FEA-3135-49C2-A3C0-CFEDDC6405B3}" type="pres">
      <dgm:prSet presAssocID="{43BDC9E6-B3ED-4E11-B81F-A36F96CA06AD}" presName="rootText1" presStyleLbl="node0" presStyleIdx="0" presStyleCnt="1" custScaleX="13224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EF86BC6-06CE-4768-9942-F4420543D5EE}" type="pres">
      <dgm:prSet presAssocID="{43BDC9E6-B3ED-4E11-B81F-A36F96CA06A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C72B6B4-B63E-4FE2-8CC2-5FA221770366}" type="pres">
      <dgm:prSet presAssocID="{43BDC9E6-B3ED-4E11-B81F-A36F96CA06AD}" presName="hierChild2" presStyleCnt="0"/>
      <dgm:spPr/>
      <dgm:t>
        <a:bodyPr/>
        <a:lstStyle/>
        <a:p>
          <a:endParaRPr lang="en-US"/>
        </a:p>
      </dgm:t>
    </dgm:pt>
    <dgm:pt modelId="{A3BC68A0-CABF-4126-884C-C90818E1E26E}" type="pres">
      <dgm:prSet presAssocID="{3EEFE082-C4FA-499A-BA01-E4B8217A4B73}" presName="Name37" presStyleLbl="parChTrans1D2" presStyleIdx="0" presStyleCnt="3"/>
      <dgm:spPr/>
      <dgm:t>
        <a:bodyPr/>
        <a:lstStyle/>
        <a:p>
          <a:endParaRPr lang="en-US"/>
        </a:p>
      </dgm:t>
    </dgm:pt>
    <dgm:pt modelId="{9B84C5AA-6259-445A-8F7A-6D366FCBB4AD}" type="pres">
      <dgm:prSet presAssocID="{843E3B21-DC9F-4CF8-A7F1-93BF704E47A7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F324FB99-E565-440D-9319-A2867DA87756}" type="pres">
      <dgm:prSet presAssocID="{843E3B21-DC9F-4CF8-A7F1-93BF704E47A7}" presName="rootComposite" presStyleCnt="0"/>
      <dgm:spPr/>
      <dgm:t>
        <a:bodyPr/>
        <a:lstStyle/>
        <a:p>
          <a:endParaRPr lang="en-US"/>
        </a:p>
      </dgm:t>
    </dgm:pt>
    <dgm:pt modelId="{5E5C4910-D5C2-4117-9825-0F4E2308A1D4}" type="pres">
      <dgm:prSet presAssocID="{843E3B21-DC9F-4CF8-A7F1-93BF704E47A7}" presName="rootText" presStyleLbl="node2" presStyleIdx="0" presStyleCnt="3" custScaleX="194214" custScaleY="161523" custLinFactX="-100000" custLinFactNeighborX="-116957" custLinFactNeighborY="454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B22B6A5-BFAD-4E5F-BED0-C002FA69FEEF}" type="pres">
      <dgm:prSet presAssocID="{843E3B21-DC9F-4CF8-A7F1-93BF704E47A7}" presName="rootConnector" presStyleLbl="node2" presStyleIdx="0" presStyleCnt="3"/>
      <dgm:spPr/>
      <dgm:t>
        <a:bodyPr/>
        <a:lstStyle/>
        <a:p>
          <a:endParaRPr lang="en-US"/>
        </a:p>
      </dgm:t>
    </dgm:pt>
    <dgm:pt modelId="{16186025-4BC6-46E2-97F6-F9084F02632D}" type="pres">
      <dgm:prSet presAssocID="{843E3B21-DC9F-4CF8-A7F1-93BF704E47A7}" presName="hierChild4" presStyleCnt="0"/>
      <dgm:spPr/>
      <dgm:t>
        <a:bodyPr/>
        <a:lstStyle/>
        <a:p>
          <a:endParaRPr lang="en-US"/>
        </a:p>
      </dgm:t>
    </dgm:pt>
    <dgm:pt modelId="{A83ED5F7-10A0-45C9-B814-5804FA76917E}" type="pres">
      <dgm:prSet presAssocID="{3722DDF4-26E2-4422-A516-DEEAC3ECF65B}" presName="Name37" presStyleLbl="parChTrans1D3" presStyleIdx="0" presStyleCnt="9"/>
      <dgm:spPr/>
      <dgm:t>
        <a:bodyPr/>
        <a:lstStyle/>
        <a:p>
          <a:endParaRPr lang="en-US"/>
        </a:p>
      </dgm:t>
    </dgm:pt>
    <dgm:pt modelId="{D44CFE56-6231-4D51-BDF4-F9842887D455}" type="pres">
      <dgm:prSet presAssocID="{720AE7B9-47AD-4FF9-8447-DF1B8C5FD19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F340CB26-8421-44AC-9592-9BB7E87D96B8}" type="pres">
      <dgm:prSet presAssocID="{720AE7B9-47AD-4FF9-8447-DF1B8C5FD193}" presName="rootComposite" presStyleCnt="0"/>
      <dgm:spPr/>
      <dgm:t>
        <a:bodyPr/>
        <a:lstStyle/>
        <a:p>
          <a:endParaRPr lang="en-US"/>
        </a:p>
      </dgm:t>
    </dgm:pt>
    <dgm:pt modelId="{1064D61A-5C37-497D-A6F5-6312AB6E3F5A}" type="pres">
      <dgm:prSet presAssocID="{720AE7B9-47AD-4FF9-8447-DF1B8C5FD193}" presName="rootText" presStyleLbl="node3" presStyleIdx="0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D0BA542-EABF-46D4-A11D-8954A50A4A27}" type="pres">
      <dgm:prSet presAssocID="{720AE7B9-47AD-4FF9-8447-DF1B8C5FD193}" presName="rootConnector" presStyleLbl="node3" presStyleIdx="0" presStyleCnt="9"/>
      <dgm:spPr/>
      <dgm:t>
        <a:bodyPr/>
        <a:lstStyle/>
        <a:p>
          <a:endParaRPr lang="en-US"/>
        </a:p>
      </dgm:t>
    </dgm:pt>
    <dgm:pt modelId="{CB5479DD-BB83-4A7F-A8FE-0204BBEBDE57}" type="pres">
      <dgm:prSet presAssocID="{720AE7B9-47AD-4FF9-8447-DF1B8C5FD193}" presName="hierChild4" presStyleCnt="0"/>
      <dgm:spPr/>
      <dgm:t>
        <a:bodyPr/>
        <a:lstStyle/>
        <a:p>
          <a:endParaRPr lang="en-US"/>
        </a:p>
      </dgm:t>
    </dgm:pt>
    <dgm:pt modelId="{72F3B94E-5E2C-4DF9-BCD5-3D635951032C}" type="pres">
      <dgm:prSet presAssocID="{720AE7B9-47AD-4FF9-8447-DF1B8C5FD193}" presName="hierChild5" presStyleCnt="0"/>
      <dgm:spPr/>
      <dgm:t>
        <a:bodyPr/>
        <a:lstStyle/>
        <a:p>
          <a:endParaRPr lang="en-US"/>
        </a:p>
      </dgm:t>
    </dgm:pt>
    <dgm:pt modelId="{A2B3E9C0-0CE1-4B88-9E71-F7CE1A7F99D7}" type="pres">
      <dgm:prSet presAssocID="{14236E25-24F5-4DBC-8E23-FED5A30DEF0E}" presName="Name37" presStyleLbl="parChTrans1D3" presStyleIdx="1" presStyleCnt="9"/>
      <dgm:spPr/>
      <dgm:t>
        <a:bodyPr/>
        <a:lstStyle/>
        <a:p>
          <a:endParaRPr lang="en-US"/>
        </a:p>
      </dgm:t>
    </dgm:pt>
    <dgm:pt modelId="{16797127-63BB-4E8C-8005-5E72B3FF9B3C}" type="pres">
      <dgm:prSet presAssocID="{7D7C3FA2-CE75-4B7D-A218-416906B8D917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4DFEF789-40AF-4966-81EA-F7C1CBE52773}" type="pres">
      <dgm:prSet presAssocID="{7D7C3FA2-CE75-4B7D-A218-416906B8D917}" presName="rootComposite" presStyleCnt="0"/>
      <dgm:spPr/>
      <dgm:t>
        <a:bodyPr/>
        <a:lstStyle/>
        <a:p>
          <a:endParaRPr lang="en-US"/>
        </a:p>
      </dgm:t>
    </dgm:pt>
    <dgm:pt modelId="{A77E27D0-EFD7-495B-9E1A-5A5371B8AB84}" type="pres">
      <dgm:prSet presAssocID="{7D7C3FA2-CE75-4B7D-A218-416906B8D917}" presName="rootText" presStyleLbl="node3" presStyleIdx="1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F8734B-291F-4EE9-8AEC-5D7130065FE8}" type="pres">
      <dgm:prSet presAssocID="{7D7C3FA2-CE75-4B7D-A218-416906B8D917}" presName="rootConnector" presStyleLbl="node3" presStyleIdx="1" presStyleCnt="9"/>
      <dgm:spPr/>
      <dgm:t>
        <a:bodyPr/>
        <a:lstStyle/>
        <a:p>
          <a:endParaRPr lang="en-US"/>
        </a:p>
      </dgm:t>
    </dgm:pt>
    <dgm:pt modelId="{F1241E53-1837-4666-9A60-B6AD42958195}" type="pres">
      <dgm:prSet presAssocID="{7D7C3FA2-CE75-4B7D-A218-416906B8D917}" presName="hierChild4" presStyleCnt="0"/>
      <dgm:spPr/>
      <dgm:t>
        <a:bodyPr/>
        <a:lstStyle/>
        <a:p>
          <a:endParaRPr lang="en-US"/>
        </a:p>
      </dgm:t>
    </dgm:pt>
    <dgm:pt modelId="{E1079AD2-0C8E-44F0-9596-6D504E6161CE}" type="pres">
      <dgm:prSet presAssocID="{7D7C3FA2-CE75-4B7D-A218-416906B8D917}" presName="hierChild5" presStyleCnt="0"/>
      <dgm:spPr/>
      <dgm:t>
        <a:bodyPr/>
        <a:lstStyle/>
        <a:p>
          <a:endParaRPr lang="en-US"/>
        </a:p>
      </dgm:t>
    </dgm:pt>
    <dgm:pt modelId="{50C84909-550F-4BDC-8966-B86E5E1786AE}" type="pres">
      <dgm:prSet presAssocID="{359E2506-5D19-4F9C-8688-C666576175A9}" presName="Name37" presStyleLbl="parChTrans1D3" presStyleIdx="2" presStyleCnt="9"/>
      <dgm:spPr/>
      <dgm:t>
        <a:bodyPr/>
        <a:lstStyle/>
        <a:p>
          <a:endParaRPr lang="en-US"/>
        </a:p>
      </dgm:t>
    </dgm:pt>
    <dgm:pt modelId="{EBCAC25B-3E97-4708-AA7E-0D44E4C06B2C}" type="pres">
      <dgm:prSet presAssocID="{9B931718-FC68-4B2E-9854-492BCFE6FE8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56A22D43-7DD1-46E6-B06A-D1D662EE6DAD}" type="pres">
      <dgm:prSet presAssocID="{9B931718-FC68-4B2E-9854-492BCFE6FE83}" presName="rootComposite" presStyleCnt="0"/>
      <dgm:spPr/>
      <dgm:t>
        <a:bodyPr/>
        <a:lstStyle/>
        <a:p>
          <a:endParaRPr lang="en-US"/>
        </a:p>
      </dgm:t>
    </dgm:pt>
    <dgm:pt modelId="{984A4F3B-0A00-4E5A-9092-1922B8A7FAB3}" type="pres">
      <dgm:prSet presAssocID="{9B931718-FC68-4B2E-9854-492BCFE6FE83}" presName="rootText" presStyleLbl="node3" presStyleIdx="2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0B55C8-272E-490B-AB5F-A5C6369E8C79}" type="pres">
      <dgm:prSet presAssocID="{9B931718-FC68-4B2E-9854-492BCFE6FE83}" presName="rootConnector" presStyleLbl="node3" presStyleIdx="2" presStyleCnt="9"/>
      <dgm:spPr/>
      <dgm:t>
        <a:bodyPr/>
        <a:lstStyle/>
        <a:p>
          <a:endParaRPr lang="en-US"/>
        </a:p>
      </dgm:t>
    </dgm:pt>
    <dgm:pt modelId="{18D6C1B6-F902-4ABE-BB60-086B907C1C3A}" type="pres">
      <dgm:prSet presAssocID="{9B931718-FC68-4B2E-9854-492BCFE6FE83}" presName="hierChild4" presStyleCnt="0"/>
      <dgm:spPr/>
      <dgm:t>
        <a:bodyPr/>
        <a:lstStyle/>
        <a:p>
          <a:endParaRPr lang="en-US"/>
        </a:p>
      </dgm:t>
    </dgm:pt>
    <dgm:pt modelId="{4E3F742A-A2F5-4971-A026-90DA3CFE956C}" type="pres">
      <dgm:prSet presAssocID="{9B931718-FC68-4B2E-9854-492BCFE6FE83}" presName="hierChild5" presStyleCnt="0"/>
      <dgm:spPr/>
      <dgm:t>
        <a:bodyPr/>
        <a:lstStyle/>
        <a:p>
          <a:endParaRPr lang="en-US"/>
        </a:p>
      </dgm:t>
    </dgm:pt>
    <dgm:pt modelId="{6262AD45-37CE-4E4E-81E1-98A75BFFED33}" type="pres">
      <dgm:prSet presAssocID="{EF032B47-594B-4FE2-82AA-11F85DCB3B05}" presName="Name37" presStyleLbl="parChTrans1D3" presStyleIdx="3" presStyleCnt="9"/>
      <dgm:spPr/>
      <dgm:t>
        <a:bodyPr/>
        <a:lstStyle/>
        <a:p>
          <a:endParaRPr lang="en-US"/>
        </a:p>
      </dgm:t>
    </dgm:pt>
    <dgm:pt modelId="{3BDA7C33-CC97-412E-A3EC-9F252E4F5A5A}" type="pres">
      <dgm:prSet presAssocID="{0B5A8C4E-0287-4775-89CD-4F33BAC9506F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2723E1CD-4CEE-4F07-87CD-20B12A8FC827}" type="pres">
      <dgm:prSet presAssocID="{0B5A8C4E-0287-4775-89CD-4F33BAC9506F}" presName="rootComposite" presStyleCnt="0"/>
      <dgm:spPr/>
      <dgm:t>
        <a:bodyPr/>
        <a:lstStyle/>
        <a:p>
          <a:endParaRPr lang="en-US"/>
        </a:p>
      </dgm:t>
    </dgm:pt>
    <dgm:pt modelId="{E8D3E92A-0794-4DFF-ADF5-83A9F9869BDA}" type="pres">
      <dgm:prSet presAssocID="{0B5A8C4E-0287-4775-89CD-4F33BAC9506F}" presName="rootText" presStyleLbl="node3" presStyleIdx="3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4F391C2-584B-4F01-9A6E-BB77AA2A997A}" type="pres">
      <dgm:prSet presAssocID="{0B5A8C4E-0287-4775-89CD-4F33BAC9506F}" presName="rootConnector" presStyleLbl="node3" presStyleIdx="3" presStyleCnt="9"/>
      <dgm:spPr/>
      <dgm:t>
        <a:bodyPr/>
        <a:lstStyle/>
        <a:p>
          <a:endParaRPr lang="en-US"/>
        </a:p>
      </dgm:t>
    </dgm:pt>
    <dgm:pt modelId="{B2E11ABB-6C93-42E1-91A1-DB542954BA14}" type="pres">
      <dgm:prSet presAssocID="{0B5A8C4E-0287-4775-89CD-4F33BAC9506F}" presName="hierChild4" presStyleCnt="0"/>
      <dgm:spPr/>
      <dgm:t>
        <a:bodyPr/>
        <a:lstStyle/>
        <a:p>
          <a:endParaRPr lang="en-US"/>
        </a:p>
      </dgm:t>
    </dgm:pt>
    <dgm:pt modelId="{7916A290-6350-41CF-9D02-42ED9408F54E}" type="pres">
      <dgm:prSet presAssocID="{0B5A8C4E-0287-4775-89CD-4F33BAC9506F}" presName="hierChild5" presStyleCnt="0"/>
      <dgm:spPr/>
      <dgm:t>
        <a:bodyPr/>
        <a:lstStyle/>
        <a:p>
          <a:endParaRPr lang="en-US"/>
        </a:p>
      </dgm:t>
    </dgm:pt>
    <dgm:pt modelId="{0AD99682-343B-4485-A14B-DE65F037093C}" type="pres">
      <dgm:prSet presAssocID="{E5A2EAE4-118D-44B2-B409-8CEB91FA5E76}" presName="Name37" presStyleLbl="parChTrans1D3" presStyleIdx="4" presStyleCnt="9"/>
      <dgm:spPr/>
      <dgm:t>
        <a:bodyPr/>
        <a:lstStyle/>
        <a:p>
          <a:endParaRPr lang="en-US"/>
        </a:p>
      </dgm:t>
    </dgm:pt>
    <dgm:pt modelId="{66F58E59-4021-466D-B511-8DE0ABD9D719}" type="pres">
      <dgm:prSet presAssocID="{952DAF52-AE68-4172-A6FB-BEC966E0D344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2898F04E-976D-464B-AD88-34BE6A9B7381}" type="pres">
      <dgm:prSet presAssocID="{952DAF52-AE68-4172-A6FB-BEC966E0D344}" presName="rootComposite" presStyleCnt="0"/>
      <dgm:spPr/>
      <dgm:t>
        <a:bodyPr/>
        <a:lstStyle/>
        <a:p>
          <a:endParaRPr lang="en-US"/>
        </a:p>
      </dgm:t>
    </dgm:pt>
    <dgm:pt modelId="{A3E484CC-77C3-47AE-B304-C3AADDD9ACD2}" type="pres">
      <dgm:prSet presAssocID="{952DAF52-AE68-4172-A6FB-BEC966E0D344}" presName="rootText" presStyleLbl="node3" presStyleIdx="4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14B7165-E531-4D80-8A5A-747F5271B944}" type="pres">
      <dgm:prSet presAssocID="{952DAF52-AE68-4172-A6FB-BEC966E0D344}" presName="rootConnector" presStyleLbl="node3" presStyleIdx="4" presStyleCnt="9"/>
      <dgm:spPr/>
      <dgm:t>
        <a:bodyPr/>
        <a:lstStyle/>
        <a:p>
          <a:endParaRPr lang="en-US"/>
        </a:p>
      </dgm:t>
    </dgm:pt>
    <dgm:pt modelId="{E6B0D5A4-884A-4729-864C-B0C32C46727A}" type="pres">
      <dgm:prSet presAssocID="{952DAF52-AE68-4172-A6FB-BEC966E0D344}" presName="hierChild4" presStyleCnt="0"/>
      <dgm:spPr/>
      <dgm:t>
        <a:bodyPr/>
        <a:lstStyle/>
        <a:p>
          <a:endParaRPr lang="en-US"/>
        </a:p>
      </dgm:t>
    </dgm:pt>
    <dgm:pt modelId="{3C160525-5F33-4057-894A-F0C79444ED80}" type="pres">
      <dgm:prSet presAssocID="{952DAF52-AE68-4172-A6FB-BEC966E0D344}" presName="hierChild5" presStyleCnt="0"/>
      <dgm:spPr/>
      <dgm:t>
        <a:bodyPr/>
        <a:lstStyle/>
        <a:p>
          <a:endParaRPr lang="en-US"/>
        </a:p>
      </dgm:t>
    </dgm:pt>
    <dgm:pt modelId="{590C0E8E-9146-4FF8-9E81-E2F73D38D307}" type="pres">
      <dgm:prSet presAssocID="{38271EC2-1F65-43B3-87B0-6BB11652BC0F}" presName="Name37" presStyleLbl="parChTrans1D3" presStyleIdx="5" presStyleCnt="9"/>
      <dgm:spPr/>
      <dgm:t>
        <a:bodyPr/>
        <a:lstStyle/>
        <a:p>
          <a:endParaRPr lang="en-US"/>
        </a:p>
      </dgm:t>
    </dgm:pt>
    <dgm:pt modelId="{B8D035F0-4E87-47D4-93A1-5B4102E15684}" type="pres">
      <dgm:prSet presAssocID="{5AFDEC37-303D-4C39-871D-86C74E419A23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B9618333-C328-4BA9-9084-341029DCBB82}" type="pres">
      <dgm:prSet presAssocID="{5AFDEC37-303D-4C39-871D-86C74E419A23}" presName="rootComposite" presStyleCnt="0"/>
      <dgm:spPr/>
      <dgm:t>
        <a:bodyPr/>
        <a:lstStyle/>
        <a:p>
          <a:endParaRPr lang="en-US"/>
        </a:p>
      </dgm:t>
    </dgm:pt>
    <dgm:pt modelId="{BFAB0065-46B4-4707-8B1B-5AD5D852CD73}" type="pres">
      <dgm:prSet presAssocID="{5AFDEC37-303D-4C39-871D-86C74E419A23}" presName="rootText" presStyleLbl="node3" presStyleIdx="5" presStyleCnt="9" custScaleX="235795" custLinFactX="-8534" custLinFactNeighborX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2F34D39-2854-4551-9A6B-77D1ED85C57F}" type="pres">
      <dgm:prSet presAssocID="{5AFDEC37-303D-4C39-871D-86C74E419A23}" presName="rootConnector" presStyleLbl="node3" presStyleIdx="5" presStyleCnt="9"/>
      <dgm:spPr/>
      <dgm:t>
        <a:bodyPr/>
        <a:lstStyle/>
        <a:p>
          <a:endParaRPr lang="en-US"/>
        </a:p>
      </dgm:t>
    </dgm:pt>
    <dgm:pt modelId="{6B99D04E-64C1-46E8-9CAF-CC329F9FE5FF}" type="pres">
      <dgm:prSet presAssocID="{5AFDEC37-303D-4C39-871D-86C74E419A23}" presName="hierChild4" presStyleCnt="0"/>
      <dgm:spPr/>
      <dgm:t>
        <a:bodyPr/>
        <a:lstStyle/>
        <a:p>
          <a:endParaRPr lang="en-US"/>
        </a:p>
      </dgm:t>
    </dgm:pt>
    <dgm:pt modelId="{6E716853-CC29-454F-B69D-A971E0A337C3}" type="pres">
      <dgm:prSet presAssocID="{5AFDEC37-303D-4C39-871D-86C74E419A23}" presName="hierChild5" presStyleCnt="0"/>
      <dgm:spPr/>
      <dgm:t>
        <a:bodyPr/>
        <a:lstStyle/>
        <a:p>
          <a:endParaRPr lang="en-US"/>
        </a:p>
      </dgm:t>
    </dgm:pt>
    <dgm:pt modelId="{82355405-192E-42E7-B905-7A6FE845C6D9}" type="pres">
      <dgm:prSet presAssocID="{843E3B21-DC9F-4CF8-A7F1-93BF704E47A7}" presName="hierChild5" presStyleCnt="0"/>
      <dgm:spPr/>
      <dgm:t>
        <a:bodyPr/>
        <a:lstStyle/>
        <a:p>
          <a:endParaRPr lang="en-US"/>
        </a:p>
      </dgm:t>
    </dgm:pt>
    <dgm:pt modelId="{96956835-3386-449C-A89B-65F7C680246D}" type="pres">
      <dgm:prSet presAssocID="{65D088B7-B36E-49AA-84B9-2BC51B326EA1}" presName="Name37" presStyleLbl="parChTrans1D2" presStyleIdx="1" presStyleCnt="3"/>
      <dgm:spPr/>
      <dgm:t>
        <a:bodyPr/>
        <a:lstStyle/>
        <a:p>
          <a:endParaRPr lang="en-US"/>
        </a:p>
      </dgm:t>
    </dgm:pt>
    <dgm:pt modelId="{DBD72DFC-EF80-4973-B6E5-D3C9AB052F9E}" type="pres">
      <dgm:prSet presAssocID="{E420C67E-C4C2-476B-9B47-FFB47D587009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72B31F8C-4060-4D82-8D0A-8A332812C464}" type="pres">
      <dgm:prSet presAssocID="{E420C67E-C4C2-476B-9B47-FFB47D587009}" presName="rootComposite" presStyleCnt="0"/>
      <dgm:spPr/>
      <dgm:t>
        <a:bodyPr/>
        <a:lstStyle/>
        <a:p>
          <a:endParaRPr lang="en-US"/>
        </a:p>
      </dgm:t>
    </dgm:pt>
    <dgm:pt modelId="{F0ED6141-24DB-4164-A2D4-B51E750525CD}" type="pres">
      <dgm:prSet presAssocID="{E420C67E-C4C2-476B-9B47-FFB47D587009}" presName="rootText" presStyleLbl="node2" presStyleIdx="1" presStyleCnt="3" custScaleX="138290" custScaleY="107228" custLinFactNeighborX="-43292" custLinFactNeighborY="6086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256018-C335-4CDB-9EC5-7AE2ABAC1E00}" type="pres">
      <dgm:prSet presAssocID="{E420C67E-C4C2-476B-9B47-FFB47D587009}" presName="rootConnector" presStyleLbl="node2" presStyleIdx="1" presStyleCnt="3"/>
      <dgm:spPr/>
      <dgm:t>
        <a:bodyPr/>
        <a:lstStyle/>
        <a:p>
          <a:endParaRPr lang="en-US"/>
        </a:p>
      </dgm:t>
    </dgm:pt>
    <dgm:pt modelId="{2A7D3334-4741-4667-BCDB-1A78491B4FD4}" type="pres">
      <dgm:prSet presAssocID="{E420C67E-C4C2-476B-9B47-FFB47D587009}" presName="hierChild4" presStyleCnt="0"/>
      <dgm:spPr/>
      <dgm:t>
        <a:bodyPr/>
        <a:lstStyle/>
        <a:p>
          <a:endParaRPr lang="en-US"/>
        </a:p>
      </dgm:t>
    </dgm:pt>
    <dgm:pt modelId="{CC07306D-4BD7-4477-BB61-A954489058D6}" type="pres">
      <dgm:prSet presAssocID="{C3334397-F4C9-43FD-9DE7-786437A51BF8}" presName="Name37" presStyleLbl="parChTrans1D3" presStyleIdx="6" presStyleCnt="9"/>
      <dgm:spPr/>
      <dgm:t>
        <a:bodyPr/>
        <a:lstStyle/>
        <a:p>
          <a:endParaRPr lang="en-US"/>
        </a:p>
      </dgm:t>
    </dgm:pt>
    <dgm:pt modelId="{0ECB6EE9-64D7-46FB-8A0A-B83CD370F0B4}" type="pres">
      <dgm:prSet presAssocID="{0216D3CF-84E5-4443-8082-6C6C297E9A4D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9D96850F-E3A0-4435-B942-5F48B18AC5F4}" type="pres">
      <dgm:prSet presAssocID="{0216D3CF-84E5-4443-8082-6C6C297E9A4D}" presName="rootComposite" presStyleCnt="0"/>
      <dgm:spPr/>
      <dgm:t>
        <a:bodyPr/>
        <a:lstStyle/>
        <a:p>
          <a:endParaRPr lang="en-US"/>
        </a:p>
      </dgm:t>
    </dgm:pt>
    <dgm:pt modelId="{CBCDE87F-FA6C-44B8-A9C2-1E747BE7F736}" type="pres">
      <dgm:prSet presAssocID="{0216D3CF-84E5-4443-8082-6C6C297E9A4D}" presName="rootText" presStyleLbl="node3" presStyleIdx="6" presStyleCnt="9" custScaleX="223979" custScaleY="161509" custLinFactY="66356" custLinFactNeighborX="-381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9F174C-7D69-49F6-A7FE-7ED9990EB82A}" type="pres">
      <dgm:prSet presAssocID="{0216D3CF-84E5-4443-8082-6C6C297E9A4D}" presName="rootConnector" presStyleLbl="node3" presStyleIdx="6" presStyleCnt="9"/>
      <dgm:spPr/>
      <dgm:t>
        <a:bodyPr/>
        <a:lstStyle/>
        <a:p>
          <a:endParaRPr lang="en-US"/>
        </a:p>
      </dgm:t>
    </dgm:pt>
    <dgm:pt modelId="{1934090D-CBAE-4AB8-9BE7-C9762145998D}" type="pres">
      <dgm:prSet presAssocID="{0216D3CF-84E5-4443-8082-6C6C297E9A4D}" presName="hierChild4" presStyleCnt="0"/>
      <dgm:spPr/>
      <dgm:t>
        <a:bodyPr/>
        <a:lstStyle/>
        <a:p>
          <a:endParaRPr lang="en-US"/>
        </a:p>
      </dgm:t>
    </dgm:pt>
    <dgm:pt modelId="{7BCCCAFF-8404-460B-9A5A-B8BF91057993}" type="pres">
      <dgm:prSet presAssocID="{0216D3CF-84E5-4443-8082-6C6C297E9A4D}" presName="hierChild5" presStyleCnt="0"/>
      <dgm:spPr/>
      <dgm:t>
        <a:bodyPr/>
        <a:lstStyle/>
        <a:p>
          <a:endParaRPr lang="en-US"/>
        </a:p>
      </dgm:t>
    </dgm:pt>
    <dgm:pt modelId="{1DBB8D6B-1EA9-448A-B87B-A162873E7B21}" type="pres">
      <dgm:prSet presAssocID="{E420C67E-C4C2-476B-9B47-FFB47D587009}" presName="hierChild5" presStyleCnt="0"/>
      <dgm:spPr/>
      <dgm:t>
        <a:bodyPr/>
        <a:lstStyle/>
        <a:p>
          <a:endParaRPr lang="en-US"/>
        </a:p>
      </dgm:t>
    </dgm:pt>
    <dgm:pt modelId="{C137CAE9-66E1-459B-A733-9B53B02E07AF}" type="pres">
      <dgm:prSet presAssocID="{6ED4E1AA-EFDD-4E70-836E-3DB36084DE98}" presName="Name37" presStyleLbl="parChTrans1D2" presStyleIdx="2" presStyleCnt="3"/>
      <dgm:spPr/>
      <dgm:t>
        <a:bodyPr/>
        <a:lstStyle/>
        <a:p>
          <a:endParaRPr lang="en-US"/>
        </a:p>
      </dgm:t>
    </dgm:pt>
    <dgm:pt modelId="{35CBA655-D40F-4A2B-B71A-711D392B5A84}" type="pres">
      <dgm:prSet presAssocID="{1CE2D78B-C788-472A-8424-7F9A4AB5205E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9DC86AED-B6DB-4100-9EA0-4E60FFB4A367}" type="pres">
      <dgm:prSet presAssocID="{1CE2D78B-C788-472A-8424-7F9A4AB5205E}" presName="rootComposite" presStyleCnt="0"/>
      <dgm:spPr/>
      <dgm:t>
        <a:bodyPr/>
        <a:lstStyle/>
        <a:p>
          <a:endParaRPr lang="en-US"/>
        </a:p>
      </dgm:t>
    </dgm:pt>
    <dgm:pt modelId="{A5F2589C-C16C-45F2-9A3D-F2A6CB2476D1}" type="pres">
      <dgm:prSet presAssocID="{1CE2D78B-C788-472A-8424-7F9A4AB5205E}" presName="rootText" presStyleLbl="node2" presStyleIdx="2" presStyleCnt="3" custScaleX="150541" custLinFactNeighborX="69761" custLinFactNeighborY="4720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D7B6648-0B7F-4E1F-B6C5-CE0E2F04B9FF}" type="pres">
      <dgm:prSet presAssocID="{1CE2D78B-C788-472A-8424-7F9A4AB5205E}" presName="rootConnector" presStyleLbl="node2" presStyleIdx="2" presStyleCnt="3"/>
      <dgm:spPr/>
      <dgm:t>
        <a:bodyPr/>
        <a:lstStyle/>
        <a:p>
          <a:endParaRPr lang="en-US"/>
        </a:p>
      </dgm:t>
    </dgm:pt>
    <dgm:pt modelId="{29CE8073-D253-4588-B954-7167D33B1947}" type="pres">
      <dgm:prSet presAssocID="{1CE2D78B-C788-472A-8424-7F9A4AB5205E}" presName="hierChild4" presStyleCnt="0"/>
      <dgm:spPr/>
      <dgm:t>
        <a:bodyPr/>
        <a:lstStyle/>
        <a:p>
          <a:endParaRPr lang="en-US"/>
        </a:p>
      </dgm:t>
    </dgm:pt>
    <dgm:pt modelId="{AEDC7120-FE6F-49D8-95F2-AB1B2B6AC9A8}" type="pres">
      <dgm:prSet presAssocID="{F0BD47AB-7AC9-40A2-A96D-1A911EFDE7FF}" presName="Name37" presStyleLbl="parChTrans1D3" presStyleIdx="7" presStyleCnt="9"/>
      <dgm:spPr/>
      <dgm:t>
        <a:bodyPr/>
        <a:lstStyle/>
        <a:p>
          <a:endParaRPr lang="en-US"/>
        </a:p>
      </dgm:t>
    </dgm:pt>
    <dgm:pt modelId="{F65159AB-B6AE-4C58-BE85-DB4966F15FBA}" type="pres">
      <dgm:prSet presAssocID="{A240A1E1-162D-4A6E-A806-B6FF45B3AB68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4413A7CD-B07B-4481-95F7-63264BEB8326}" type="pres">
      <dgm:prSet presAssocID="{A240A1E1-162D-4A6E-A806-B6FF45B3AB68}" presName="rootComposite" presStyleCnt="0"/>
      <dgm:spPr/>
      <dgm:t>
        <a:bodyPr/>
        <a:lstStyle/>
        <a:p>
          <a:endParaRPr lang="en-US"/>
        </a:p>
      </dgm:t>
    </dgm:pt>
    <dgm:pt modelId="{6E033C69-6BA8-4812-AE4E-0022A986E944}" type="pres">
      <dgm:prSet presAssocID="{A240A1E1-162D-4A6E-A806-B6FF45B3AB68}" presName="rootText" presStyleLbl="node3" presStyleIdx="7" presStyleCnt="9" custScaleX="177156" custLinFactX="490" custLinFactY="41635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C564F4-BF5C-4321-B86B-65391CEDEFC7}" type="pres">
      <dgm:prSet presAssocID="{A240A1E1-162D-4A6E-A806-B6FF45B3AB68}" presName="rootConnector" presStyleLbl="node3" presStyleIdx="7" presStyleCnt="9"/>
      <dgm:spPr/>
      <dgm:t>
        <a:bodyPr/>
        <a:lstStyle/>
        <a:p>
          <a:endParaRPr lang="en-US"/>
        </a:p>
      </dgm:t>
    </dgm:pt>
    <dgm:pt modelId="{7C0A51FE-5187-4FBA-A9F6-DFFAA1B3DD3E}" type="pres">
      <dgm:prSet presAssocID="{A240A1E1-162D-4A6E-A806-B6FF45B3AB68}" presName="hierChild4" presStyleCnt="0"/>
      <dgm:spPr/>
      <dgm:t>
        <a:bodyPr/>
        <a:lstStyle/>
        <a:p>
          <a:endParaRPr lang="en-US"/>
        </a:p>
      </dgm:t>
    </dgm:pt>
    <dgm:pt modelId="{A5F1F6CB-B812-4FEA-ACD0-E838992C8274}" type="pres">
      <dgm:prSet presAssocID="{A240A1E1-162D-4A6E-A806-B6FF45B3AB68}" presName="hierChild5" presStyleCnt="0"/>
      <dgm:spPr/>
      <dgm:t>
        <a:bodyPr/>
        <a:lstStyle/>
        <a:p>
          <a:endParaRPr lang="en-US"/>
        </a:p>
      </dgm:t>
    </dgm:pt>
    <dgm:pt modelId="{28E82B1A-B1F2-4CC5-9B64-B60015CBF624}" type="pres">
      <dgm:prSet presAssocID="{A60BCA66-49BB-4275-9110-8B471B3FC59B}" presName="Name37" presStyleLbl="parChTrans1D3" presStyleIdx="8" presStyleCnt="9"/>
      <dgm:spPr/>
      <dgm:t>
        <a:bodyPr/>
        <a:lstStyle/>
        <a:p>
          <a:endParaRPr lang="en-US"/>
        </a:p>
      </dgm:t>
    </dgm:pt>
    <dgm:pt modelId="{B22DAA2B-22C5-4EFA-A0A6-9AD0235D2103}" type="pres">
      <dgm:prSet presAssocID="{35016019-1F0E-47A9-A9CB-AE98C0AFCFC1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514CA667-AA27-4D37-9311-1D5D85EF643D}" type="pres">
      <dgm:prSet presAssocID="{35016019-1F0E-47A9-A9CB-AE98C0AFCFC1}" presName="rootComposite" presStyleCnt="0"/>
      <dgm:spPr/>
      <dgm:t>
        <a:bodyPr/>
        <a:lstStyle/>
        <a:p>
          <a:endParaRPr lang="en-US"/>
        </a:p>
      </dgm:t>
    </dgm:pt>
    <dgm:pt modelId="{428A54D9-43F6-47B6-B3A2-FDCE09CB5A97}" type="pres">
      <dgm:prSet presAssocID="{35016019-1F0E-47A9-A9CB-AE98C0AFCFC1}" presName="rootText" presStyleLbl="node3" presStyleIdx="8" presStyleCnt="9" custScaleX="177156" custLinFactX="490" custLinFactY="46741" custLinFactNeighborX="1000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1DAB6FE-4097-4695-9397-7DCCE262634B}" type="pres">
      <dgm:prSet presAssocID="{35016019-1F0E-47A9-A9CB-AE98C0AFCFC1}" presName="rootConnector" presStyleLbl="node3" presStyleIdx="8" presStyleCnt="9"/>
      <dgm:spPr/>
      <dgm:t>
        <a:bodyPr/>
        <a:lstStyle/>
        <a:p>
          <a:endParaRPr lang="en-US"/>
        </a:p>
      </dgm:t>
    </dgm:pt>
    <dgm:pt modelId="{F4CC167B-F2F2-455C-9A45-823F18AFEF9A}" type="pres">
      <dgm:prSet presAssocID="{35016019-1F0E-47A9-A9CB-AE98C0AFCFC1}" presName="hierChild4" presStyleCnt="0"/>
      <dgm:spPr/>
      <dgm:t>
        <a:bodyPr/>
        <a:lstStyle/>
        <a:p>
          <a:endParaRPr lang="en-US"/>
        </a:p>
      </dgm:t>
    </dgm:pt>
    <dgm:pt modelId="{A5D0575B-48E0-4A98-88E8-8B4961A6F762}" type="pres">
      <dgm:prSet presAssocID="{35016019-1F0E-47A9-A9CB-AE98C0AFCFC1}" presName="hierChild5" presStyleCnt="0"/>
      <dgm:spPr/>
      <dgm:t>
        <a:bodyPr/>
        <a:lstStyle/>
        <a:p>
          <a:endParaRPr lang="en-US"/>
        </a:p>
      </dgm:t>
    </dgm:pt>
    <dgm:pt modelId="{528156B2-647C-44D5-ABAD-EBDCDF85B348}" type="pres">
      <dgm:prSet presAssocID="{1CE2D78B-C788-472A-8424-7F9A4AB5205E}" presName="hierChild5" presStyleCnt="0"/>
      <dgm:spPr/>
      <dgm:t>
        <a:bodyPr/>
        <a:lstStyle/>
        <a:p>
          <a:endParaRPr lang="en-US"/>
        </a:p>
      </dgm:t>
    </dgm:pt>
    <dgm:pt modelId="{B87F60ED-85BE-4872-BA6E-CDCB9CBDC6A3}" type="pres">
      <dgm:prSet presAssocID="{43BDC9E6-B3ED-4E11-B81F-A36F96CA06AD}" presName="hierChild3" presStyleCnt="0"/>
      <dgm:spPr/>
      <dgm:t>
        <a:bodyPr/>
        <a:lstStyle/>
        <a:p>
          <a:endParaRPr lang="en-US"/>
        </a:p>
      </dgm:t>
    </dgm:pt>
  </dgm:ptLst>
  <dgm:cxnLst>
    <dgm:cxn modelId="{AE2CE03C-8546-4C57-8C51-E00EED5D3A58}" type="presOf" srcId="{843E3B21-DC9F-4CF8-A7F1-93BF704E47A7}" destId="{AB22B6A5-BFAD-4E5F-BED0-C002FA69FEEF}" srcOrd="1" destOrd="0" presId="urn:microsoft.com/office/officeart/2005/8/layout/orgChart1"/>
    <dgm:cxn modelId="{642DC8F7-193D-472F-A5F3-D38B342D982F}" type="presOf" srcId="{952DAF52-AE68-4172-A6FB-BEC966E0D344}" destId="{D14B7165-E531-4D80-8A5A-747F5271B944}" srcOrd="1" destOrd="0" presId="urn:microsoft.com/office/officeart/2005/8/layout/orgChart1"/>
    <dgm:cxn modelId="{334D15EA-1444-4587-B84D-E7E501237306}" type="presOf" srcId="{359E2506-5D19-4F9C-8688-C666576175A9}" destId="{50C84909-550F-4BDC-8966-B86E5E1786AE}" srcOrd="0" destOrd="0" presId="urn:microsoft.com/office/officeart/2005/8/layout/orgChart1"/>
    <dgm:cxn modelId="{D7DEE3A8-3245-4CDE-A61C-6567CBC2BB8D}" type="presOf" srcId="{35016019-1F0E-47A9-A9CB-AE98C0AFCFC1}" destId="{31DAB6FE-4097-4695-9397-7DCCE262634B}" srcOrd="1" destOrd="0" presId="urn:microsoft.com/office/officeart/2005/8/layout/orgChart1"/>
    <dgm:cxn modelId="{6E2E3B55-A6EB-46D7-B7D0-04629FD4C800}" srcId="{843E3B21-DC9F-4CF8-A7F1-93BF704E47A7}" destId="{9B931718-FC68-4B2E-9854-492BCFE6FE83}" srcOrd="2" destOrd="0" parTransId="{359E2506-5D19-4F9C-8688-C666576175A9}" sibTransId="{3113A228-1208-4305-91A0-AEEDFF54B5B2}"/>
    <dgm:cxn modelId="{F2269CC5-160F-4230-BE76-A4FBBE0CCFBC}" type="presOf" srcId="{1CE2D78B-C788-472A-8424-7F9A4AB5205E}" destId="{6D7B6648-0B7F-4E1F-B6C5-CE0E2F04B9FF}" srcOrd="1" destOrd="0" presId="urn:microsoft.com/office/officeart/2005/8/layout/orgChart1"/>
    <dgm:cxn modelId="{D71C36B7-3F5D-4378-96A4-E077CC211AF7}" type="presOf" srcId="{0B5A8C4E-0287-4775-89CD-4F33BAC9506F}" destId="{E4F391C2-584B-4F01-9A6E-BB77AA2A997A}" srcOrd="1" destOrd="0" presId="urn:microsoft.com/office/officeart/2005/8/layout/orgChart1"/>
    <dgm:cxn modelId="{AAA12582-5E68-4D3F-BADF-21BF910F5852}" type="presOf" srcId="{9B931718-FC68-4B2E-9854-492BCFE6FE83}" destId="{700B55C8-272E-490B-AB5F-A5C6369E8C79}" srcOrd="1" destOrd="0" presId="urn:microsoft.com/office/officeart/2005/8/layout/orgChart1"/>
    <dgm:cxn modelId="{0D71FF63-0E14-4A88-9B75-5BE5B1AD4CCC}" type="presOf" srcId="{0B5A8C4E-0287-4775-89CD-4F33BAC9506F}" destId="{E8D3E92A-0794-4DFF-ADF5-83A9F9869BDA}" srcOrd="0" destOrd="0" presId="urn:microsoft.com/office/officeart/2005/8/layout/orgChart1"/>
    <dgm:cxn modelId="{FBB9A736-9C2B-44FD-A724-A12E20988EE9}" type="presOf" srcId="{E5A2EAE4-118D-44B2-B409-8CEB91FA5E76}" destId="{0AD99682-343B-4485-A14B-DE65F037093C}" srcOrd="0" destOrd="0" presId="urn:microsoft.com/office/officeart/2005/8/layout/orgChart1"/>
    <dgm:cxn modelId="{0A4F78ED-994E-4775-9792-4F8AFB843E13}" srcId="{843E3B21-DC9F-4CF8-A7F1-93BF704E47A7}" destId="{952DAF52-AE68-4172-A6FB-BEC966E0D344}" srcOrd="4" destOrd="0" parTransId="{E5A2EAE4-118D-44B2-B409-8CEB91FA5E76}" sibTransId="{9F184476-99DB-4158-BA52-C9F0136CB0E4}"/>
    <dgm:cxn modelId="{F0C0AED6-3BFB-430A-84C4-C1842ECA49F1}" srcId="{1CE2D78B-C788-472A-8424-7F9A4AB5205E}" destId="{35016019-1F0E-47A9-A9CB-AE98C0AFCFC1}" srcOrd="1" destOrd="0" parTransId="{A60BCA66-49BB-4275-9110-8B471B3FC59B}" sibTransId="{549EC933-326F-43C6-A4AD-B0C6604A5CF9}"/>
    <dgm:cxn modelId="{B43CEBDD-E335-49F5-B602-4253B01FC8EE}" type="presOf" srcId="{720AE7B9-47AD-4FF9-8447-DF1B8C5FD193}" destId="{1064D61A-5C37-497D-A6F5-6312AB6E3F5A}" srcOrd="0" destOrd="0" presId="urn:microsoft.com/office/officeart/2005/8/layout/orgChart1"/>
    <dgm:cxn modelId="{676AEE38-D812-4AAA-B910-BDFA771FCC1C}" type="presOf" srcId="{9B931718-FC68-4B2E-9854-492BCFE6FE83}" destId="{984A4F3B-0A00-4E5A-9092-1922B8A7FAB3}" srcOrd="0" destOrd="0" presId="urn:microsoft.com/office/officeart/2005/8/layout/orgChart1"/>
    <dgm:cxn modelId="{2F25328E-46E0-4462-B3F1-2CCDD5615FAC}" type="presOf" srcId="{35016019-1F0E-47A9-A9CB-AE98C0AFCFC1}" destId="{428A54D9-43F6-47B6-B3A2-FDCE09CB5A97}" srcOrd="0" destOrd="0" presId="urn:microsoft.com/office/officeart/2005/8/layout/orgChart1"/>
    <dgm:cxn modelId="{DE2E2092-2060-4E00-9093-1B643AA7CC05}" type="presOf" srcId="{6ED4E1AA-EFDD-4E70-836E-3DB36084DE98}" destId="{C137CAE9-66E1-459B-A733-9B53B02E07AF}" srcOrd="0" destOrd="0" presId="urn:microsoft.com/office/officeart/2005/8/layout/orgChart1"/>
    <dgm:cxn modelId="{C7B12242-93F1-42B1-8149-73B2BE7E9DC0}" srcId="{843E3B21-DC9F-4CF8-A7F1-93BF704E47A7}" destId="{720AE7B9-47AD-4FF9-8447-DF1B8C5FD193}" srcOrd="0" destOrd="0" parTransId="{3722DDF4-26E2-4422-A516-DEEAC3ECF65B}" sibTransId="{D7F902F3-F976-415B-98C3-59057320C539}"/>
    <dgm:cxn modelId="{CCB5AE26-70F4-4C5B-B53D-136E39A12AC5}" srcId="{1CE2D78B-C788-472A-8424-7F9A4AB5205E}" destId="{A240A1E1-162D-4A6E-A806-B6FF45B3AB68}" srcOrd="0" destOrd="0" parTransId="{F0BD47AB-7AC9-40A2-A96D-1A911EFDE7FF}" sibTransId="{A12D77FB-8453-4F78-A007-65AD68966259}"/>
    <dgm:cxn modelId="{CE6E2A88-FDDE-47AD-8705-A2C035540672}" type="presOf" srcId="{F0BD47AB-7AC9-40A2-A96D-1A911EFDE7FF}" destId="{AEDC7120-FE6F-49D8-95F2-AB1B2B6AC9A8}" srcOrd="0" destOrd="0" presId="urn:microsoft.com/office/officeart/2005/8/layout/orgChart1"/>
    <dgm:cxn modelId="{2AC6A1A2-FDAF-4C07-BF93-78DC05214544}" srcId="{43BDC9E6-B3ED-4E11-B81F-A36F96CA06AD}" destId="{E420C67E-C4C2-476B-9B47-FFB47D587009}" srcOrd="1" destOrd="0" parTransId="{65D088B7-B36E-49AA-84B9-2BC51B326EA1}" sibTransId="{7CC715FB-928E-4CFE-A8F5-045F16B2D743}"/>
    <dgm:cxn modelId="{F38ADCAE-6530-4783-9FDC-11F40757C5A2}" type="presOf" srcId="{0216D3CF-84E5-4443-8082-6C6C297E9A4D}" destId="{CF9F174C-7D69-49F6-A7FE-7ED9990EB82A}" srcOrd="1" destOrd="0" presId="urn:microsoft.com/office/officeart/2005/8/layout/orgChart1"/>
    <dgm:cxn modelId="{1634B4D9-F991-4323-94CE-D5C0A3B5E0C7}" type="presOf" srcId="{EF032B47-594B-4FE2-82AA-11F85DCB3B05}" destId="{6262AD45-37CE-4E4E-81E1-98A75BFFED33}" srcOrd="0" destOrd="0" presId="urn:microsoft.com/office/officeart/2005/8/layout/orgChart1"/>
    <dgm:cxn modelId="{0EAF4CCC-9D2C-4078-9014-3B03A36BDD2F}" type="presOf" srcId="{38271EC2-1F65-43B3-87B0-6BB11652BC0F}" destId="{590C0E8E-9146-4FF8-9E81-E2F73D38D307}" srcOrd="0" destOrd="0" presId="urn:microsoft.com/office/officeart/2005/8/layout/orgChart1"/>
    <dgm:cxn modelId="{3CEF5769-D988-4AAA-9F4D-C78D62F3D948}" type="presOf" srcId="{0216D3CF-84E5-4443-8082-6C6C297E9A4D}" destId="{CBCDE87F-FA6C-44B8-A9C2-1E747BE7F736}" srcOrd="0" destOrd="0" presId="urn:microsoft.com/office/officeart/2005/8/layout/orgChart1"/>
    <dgm:cxn modelId="{C3A4E08C-0B25-4A04-8AD3-550D4D86E432}" srcId="{843E3B21-DC9F-4CF8-A7F1-93BF704E47A7}" destId="{5AFDEC37-303D-4C39-871D-86C74E419A23}" srcOrd="5" destOrd="0" parTransId="{38271EC2-1F65-43B3-87B0-6BB11652BC0F}" sibTransId="{157849EC-686C-46C2-98FE-E58DF03FCC11}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0D252A7C-EA88-478B-9AB7-96B65AE1E68A}" srcId="{43BDC9E6-B3ED-4E11-B81F-A36F96CA06AD}" destId="{1CE2D78B-C788-472A-8424-7F9A4AB5205E}" srcOrd="2" destOrd="0" parTransId="{6ED4E1AA-EFDD-4E70-836E-3DB36084DE98}" sibTransId="{1D0F051B-C9A8-457A-BE08-985EF4C28172}"/>
    <dgm:cxn modelId="{F11EF830-E7A4-46C6-8428-9457C4AE459F}" type="presOf" srcId="{43BDC9E6-B3ED-4E11-B81F-A36F96CA06AD}" destId="{6EF86BC6-06CE-4768-9942-F4420543D5EE}" srcOrd="1" destOrd="0" presId="urn:microsoft.com/office/officeart/2005/8/layout/orgChart1"/>
    <dgm:cxn modelId="{81A3F2B3-0005-428F-93F7-7F519DF73AA1}" type="presOf" srcId="{7D7C3FA2-CE75-4B7D-A218-416906B8D917}" destId="{63F8734B-291F-4EE9-8AEC-5D7130065FE8}" srcOrd="1" destOrd="0" presId="urn:microsoft.com/office/officeart/2005/8/layout/orgChart1"/>
    <dgm:cxn modelId="{EB4B0006-969A-45D1-A3E9-1821404A9306}" type="presOf" srcId="{1CE2D78B-C788-472A-8424-7F9A4AB5205E}" destId="{A5F2589C-C16C-45F2-9A3D-F2A6CB2476D1}" srcOrd="0" destOrd="0" presId="urn:microsoft.com/office/officeart/2005/8/layout/orgChart1"/>
    <dgm:cxn modelId="{E40DE2BF-91BA-45B6-96D8-FC12B0137554}" type="presOf" srcId="{A240A1E1-162D-4A6E-A806-B6FF45B3AB68}" destId="{20C564F4-BF5C-4321-B86B-65391CEDEFC7}" srcOrd="1" destOrd="0" presId="urn:microsoft.com/office/officeart/2005/8/layout/orgChart1"/>
    <dgm:cxn modelId="{D1F83B79-2994-4317-B456-CF390F408C56}" type="presOf" srcId="{3EEFE082-C4FA-499A-BA01-E4B8217A4B73}" destId="{A3BC68A0-CABF-4126-884C-C90818E1E26E}" srcOrd="0" destOrd="0" presId="urn:microsoft.com/office/officeart/2005/8/layout/orgChart1"/>
    <dgm:cxn modelId="{D9A8752E-B0C9-406A-A0B4-A1AEB63D821A}" type="presOf" srcId="{A240A1E1-162D-4A6E-A806-B6FF45B3AB68}" destId="{6E033C69-6BA8-4812-AE4E-0022A986E944}" srcOrd="0" destOrd="0" presId="urn:microsoft.com/office/officeart/2005/8/layout/orgChart1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8C011A4A-C1DE-40B9-9097-73853352AED0}" type="presOf" srcId="{E420C67E-C4C2-476B-9B47-FFB47D587009}" destId="{45256018-C335-4CDB-9EC5-7AE2ABAC1E00}" srcOrd="1" destOrd="0" presId="urn:microsoft.com/office/officeart/2005/8/layout/orgChart1"/>
    <dgm:cxn modelId="{4AF15C8F-9434-4B98-94A2-D75F446A69A6}" type="presOf" srcId="{3722DDF4-26E2-4422-A516-DEEAC3ECF65B}" destId="{A83ED5F7-10A0-45C9-B814-5804FA76917E}" srcOrd="0" destOrd="0" presId="urn:microsoft.com/office/officeart/2005/8/layout/orgChart1"/>
    <dgm:cxn modelId="{2AC4A798-110C-4526-87FA-0B96BD18BBF4}" type="presOf" srcId="{65D088B7-B36E-49AA-84B9-2BC51B326EA1}" destId="{96956835-3386-449C-A89B-65F7C680246D}" srcOrd="0" destOrd="0" presId="urn:microsoft.com/office/officeart/2005/8/layout/orgChart1"/>
    <dgm:cxn modelId="{A7EFECE3-3467-4E56-9E1F-5926C2371082}" type="presOf" srcId="{952DAF52-AE68-4172-A6FB-BEC966E0D344}" destId="{A3E484CC-77C3-47AE-B304-C3AADDD9ACD2}" srcOrd="0" destOrd="0" presId="urn:microsoft.com/office/officeart/2005/8/layout/orgChart1"/>
    <dgm:cxn modelId="{BF0DC91D-EC32-48A1-86C8-FAB69550103E}" srcId="{843E3B21-DC9F-4CF8-A7F1-93BF704E47A7}" destId="{0B5A8C4E-0287-4775-89CD-4F33BAC9506F}" srcOrd="3" destOrd="0" parTransId="{EF032B47-594B-4FE2-82AA-11F85DCB3B05}" sibTransId="{54EDCA25-2AA2-4C65-8635-EE0E2A7EF78B}"/>
    <dgm:cxn modelId="{012877C2-965A-4453-AD9A-E265341CF66C}" type="presOf" srcId="{720AE7B9-47AD-4FF9-8447-DF1B8C5FD193}" destId="{1D0BA542-EABF-46D4-A11D-8954A50A4A27}" srcOrd="1" destOrd="0" presId="urn:microsoft.com/office/officeart/2005/8/layout/orgChart1"/>
    <dgm:cxn modelId="{4B3F3C37-E75B-4DB5-B739-71DE521D4A74}" type="presOf" srcId="{843E3B21-DC9F-4CF8-A7F1-93BF704E47A7}" destId="{5E5C4910-D5C2-4117-9825-0F4E2308A1D4}" srcOrd="0" destOrd="0" presId="urn:microsoft.com/office/officeart/2005/8/layout/orgChart1"/>
    <dgm:cxn modelId="{3A7B6271-E844-43BE-84BF-24499D9DD2B2}" type="presOf" srcId="{C3334397-F4C9-43FD-9DE7-786437A51BF8}" destId="{CC07306D-4BD7-4477-BB61-A954489058D6}" srcOrd="0" destOrd="0" presId="urn:microsoft.com/office/officeart/2005/8/layout/orgChart1"/>
    <dgm:cxn modelId="{3ABA604E-08A9-43A0-A11A-385DDF4B11D8}" type="presOf" srcId="{5AFDEC37-303D-4C39-871D-86C74E419A23}" destId="{52F34D39-2854-4551-9A6B-77D1ED85C57F}" srcOrd="1" destOrd="0" presId="urn:microsoft.com/office/officeart/2005/8/layout/orgChart1"/>
    <dgm:cxn modelId="{EF17C288-FABF-470A-9F6E-6F1AC60C08BE}" srcId="{E420C67E-C4C2-476B-9B47-FFB47D587009}" destId="{0216D3CF-84E5-4443-8082-6C6C297E9A4D}" srcOrd="0" destOrd="0" parTransId="{C3334397-F4C9-43FD-9DE7-786437A51BF8}" sibTransId="{9C27E3D0-AEBB-4C4C-AFEA-8F9AF608B21E}"/>
    <dgm:cxn modelId="{5881558E-ABAE-4D54-8364-53BE205BFB4C}" type="presOf" srcId="{E420C67E-C4C2-476B-9B47-FFB47D587009}" destId="{F0ED6141-24DB-4164-A2D4-B51E750525CD}" srcOrd="0" destOrd="0" presId="urn:microsoft.com/office/officeart/2005/8/layout/orgChart1"/>
    <dgm:cxn modelId="{13BFFFCB-9A29-4E8C-8057-D49C3C6B88B8}" type="presOf" srcId="{7D7C3FA2-CE75-4B7D-A218-416906B8D917}" destId="{A77E27D0-EFD7-495B-9E1A-5A5371B8AB84}" srcOrd="0" destOrd="0" presId="urn:microsoft.com/office/officeart/2005/8/layout/orgChart1"/>
    <dgm:cxn modelId="{CBA5B839-1296-4FBE-AAB0-DE88F698BB9E}" type="presOf" srcId="{43BDC9E6-B3ED-4E11-B81F-A36F96CA06AD}" destId="{1AD90FEA-3135-49C2-A3C0-CFEDDC6405B3}" srcOrd="0" destOrd="0" presId="urn:microsoft.com/office/officeart/2005/8/layout/orgChart1"/>
    <dgm:cxn modelId="{2648CEB6-4DB9-42A6-B700-4831395E15AC}" srcId="{843E3B21-DC9F-4CF8-A7F1-93BF704E47A7}" destId="{7D7C3FA2-CE75-4B7D-A218-416906B8D917}" srcOrd="1" destOrd="0" parTransId="{14236E25-24F5-4DBC-8E23-FED5A30DEF0E}" sibTransId="{FB40D391-DB77-4C2C-BDCE-7A207CEAE6FE}"/>
    <dgm:cxn modelId="{0C09C7DB-D5F0-4727-A12D-4577DBE9B9EE}" type="presOf" srcId="{14236E25-24F5-4DBC-8E23-FED5A30DEF0E}" destId="{A2B3E9C0-0CE1-4B88-9E71-F7CE1A7F99D7}" srcOrd="0" destOrd="0" presId="urn:microsoft.com/office/officeart/2005/8/layout/orgChart1"/>
    <dgm:cxn modelId="{A12D8334-64CB-44C1-A284-108BDE859B90}" type="presOf" srcId="{5AFDEC37-303D-4C39-871D-86C74E419A23}" destId="{BFAB0065-46B4-4707-8B1B-5AD5D852CD73}" srcOrd="0" destOrd="0" presId="urn:microsoft.com/office/officeart/2005/8/layout/orgChart1"/>
    <dgm:cxn modelId="{6A21934C-994F-4A9F-962B-9BCA8D97F66D}" type="presOf" srcId="{A26E1133-27F8-42A1-91FE-23383B9ACC99}" destId="{E9F5810C-05C5-4937-8779-609DD6BD5CFD}" srcOrd="0" destOrd="0" presId="urn:microsoft.com/office/officeart/2005/8/layout/orgChart1"/>
    <dgm:cxn modelId="{3A17B7E3-25FE-479F-885C-7741DFF75159}" type="presOf" srcId="{A60BCA66-49BB-4275-9110-8B471B3FC59B}" destId="{28E82B1A-B1F2-4CC5-9B64-B60015CBF624}" srcOrd="0" destOrd="0" presId="urn:microsoft.com/office/officeart/2005/8/layout/orgChart1"/>
    <dgm:cxn modelId="{5C165F62-F440-4EF0-AC10-B5BB917CAC86}" type="presParOf" srcId="{E9F5810C-05C5-4937-8779-609DD6BD5CFD}" destId="{25A00B3E-FEA8-439F-999E-8DB6BC95DBC0}" srcOrd="0" destOrd="0" presId="urn:microsoft.com/office/officeart/2005/8/layout/orgChart1"/>
    <dgm:cxn modelId="{A098A972-160E-48B8-982F-034C6A4A92F8}" type="presParOf" srcId="{25A00B3E-FEA8-439F-999E-8DB6BC95DBC0}" destId="{305CB9B7-E4C6-453D-AC39-1DA3FA25C576}" srcOrd="0" destOrd="0" presId="urn:microsoft.com/office/officeart/2005/8/layout/orgChart1"/>
    <dgm:cxn modelId="{B56EE753-7A0C-4428-9F49-D19A5EA29AC5}" type="presParOf" srcId="{305CB9B7-E4C6-453D-AC39-1DA3FA25C576}" destId="{1AD90FEA-3135-49C2-A3C0-CFEDDC6405B3}" srcOrd="0" destOrd="0" presId="urn:microsoft.com/office/officeart/2005/8/layout/orgChart1"/>
    <dgm:cxn modelId="{7FED4055-3981-41A3-B184-72DED5EFCC91}" type="presParOf" srcId="{305CB9B7-E4C6-453D-AC39-1DA3FA25C576}" destId="{6EF86BC6-06CE-4768-9942-F4420543D5EE}" srcOrd="1" destOrd="0" presId="urn:microsoft.com/office/officeart/2005/8/layout/orgChart1"/>
    <dgm:cxn modelId="{7925C4C2-123C-4ACF-B27C-414A3DDB09BD}" type="presParOf" srcId="{25A00B3E-FEA8-439F-999E-8DB6BC95DBC0}" destId="{EC72B6B4-B63E-4FE2-8CC2-5FA221770366}" srcOrd="1" destOrd="0" presId="urn:microsoft.com/office/officeart/2005/8/layout/orgChart1"/>
    <dgm:cxn modelId="{7C0F0479-7718-4457-AEF1-06AFE361807E}" type="presParOf" srcId="{EC72B6B4-B63E-4FE2-8CC2-5FA221770366}" destId="{A3BC68A0-CABF-4126-884C-C90818E1E26E}" srcOrd="0" destOrd="0" presId="urn:microsoft.com/office/officeart/2005/8/layout/orgChart1"/>
    <dgm:cxn modelId="{F946D922-D8FF-4AFA-81FF-384C0F07CBB0}" type="presParOf" srcId="{EC72B6B4-B63E-4FE2-8CC2-5FA221770366}" destId="{9B84C5AA-6259-445A-8F7A-6D366FCBB4AD}" srcOrd="1" destOrd="0" presId="urn:microsoft.com/office/officeart/2005/8/layout/orgChart1"/>
    <dgm:cxn modelId="{CD4749B3-9AC9-44ED-A038-C586931AA002}" type="presParOf" srcId="{9B84C5AA-6259-445A-8F7A-6D366FCBB4AD}" destId="{F324FB99-E565-440D-9319-A2867DA87756}" srcOrd="0" destOrd="0" presId="urn:microsoft.com/office/officeart/2005/8/layout/orgChart1"/>
    <dgm:cxn modelId="{08FB7309-9159-4F43-9DA9-53403EC2F6A1}" type="presParOf" srcId="{F324FB99-E565-440D-9319-A2867DA87756}" destId="{5E5C4910-D5C2-4117-9825-0F4E2308A1D4}" srcOrd="0" destOrd="0" presId="urn:microsoft.com/office/officeart/2005/8/layout/orgChart1"/>
    <dgm:cxn modelId="{7244B992-D212-46AA-BEE6-EBB69FD54278}" type="presParOf" srcId="{F324FB99-E565-440D-9319-A2867DA87756}" destId="{AB22B6A5-BFAD-4E5F-BED0-C002FA69FEEF}" srcOrd="1" destOrd="0" presId="urn:microsoft.com/office/officeart/2005/8/layout/orgChart1"/>
    <dgm:cxn modelId="{63AE452C-8FE4-4A73-8637-B352E327B341}" type="presParOf" srcId="{9B84C5AA-6259-445A-8F7A-6D366FCBB4AD}" destId="{16186025-4BC6-46E2-97F6-F9084F02632D}" srcOrd="1" destOrd="0" presId="urn:microsoft.com/office/officeart/2005/8/layout/orgChart1"/>
    <dgm:cxn modelId="{B11E3E0D-5FE9-4793-8B6D-F9079EA2BA3E}" type="presParOf" srcId="{16186025-4BC6-46E2-97F6-F9084F02632D}" destId="{A83ED5F7-10A0-45C9-B814-5804FA76917E}" srcOrd="0" destOrd="0" presId="urn:microsoft.com/office/officeart/2005/8/layout/orgChart1"/>
    <dgm:cxn modelId="{5B134A4C-EB8B-4477-BDC8-7A2757395435}" type="presParOf" srcId="{16186025-4BC6-46E2-97F6-F9084F02632D}" destId="{D44CFE56-6231-4D51-BDF4-F9842887D455}" srcOrd="1" destOrd="0" presId="urn:microsoft.com/office/officeart/2005/8/layout/orgChart1"/>
    <dgm:cxn modelId="{CA1B6992-44F3-4B0D-ABAA-7F3F2001AFCD}" type="presParOf" srcId="{D44CFE56-6231-4D51-BDF4-F9842887D455}" destId="{F340CB26-8421-44AC-9592-9BB7E87D96B8}" srcOrd="0" destOrd="0" presId="urn:microsoft.com/office/officeart/2005/8/layout/orgChart1"/>
    <dgm:cxn modelId="{4A63BBE4-2796-4727-80D4-4D36A380BED9}" type="presParOf" srcId="{F340CB26-8421-44AC-9592-9BB7E87D96B8}" destId="{1064D61A-5C37-497D-A6F5-6312AB6E3F5A}" srcOrd="0" destOrd="0" presId="urn:microsoft.com/office/officeart/2005/8/layout/orgChart1"/>
    <dgm:cxn modelId="{7014E99C-6FBD-40DE-A62C-81F0185B9EFD}" type="presParOf" srcId="{F340CB26-8421-44AC-9592-9BB7E87D96B8}" destId="{1D0BA542-EABF-46D4-A11D-8954A50A4A27}" srcOrd="1" destOrd="0" presId="urn:microsoft.com/office/officeart/2005/8/layout/orgChart1"/>
    <dgm:cxn modelId="{B5CF419F-A4B1-4872-87E4-A77DA6CE61CF}" type="presParOf" srcId="{D44CFE56-6231-4D51-BDF4-F9842887D455}" destId="{CB5479DD-BB83-4A7F-A8FE-0204BBEBDE57}" srcOrd="1" destOrd="0" presId="urn:microsoft.com/office/officeart/2005/8/layout/orgChart1"/>
    <dgm:cxn modelId="{6A74B8A8-B326-41B4-AAD4-F1F0AD7ABFBB}" type="presParOf" srcId="{D44CFE56-6231-4D51-BDF4-F9842887D455}" destId="{72F3B94E-5E2C-4DF9-BCD5-3D635951032C}" srcOrd="2" destOrd="0" presId="urn:microsoft.com/office/officeart/2005/8/layout/orgChart1"/>
    <dgm:cxn modelId="{865FA992-863E-4D9C-A227-8AD81A84DACF}" type="presParOf" srcId="{16186025-4BC6-46E2-97F6-F9084F02632D}" destId="{A2B3E9C0-0CE1-4B88-9E71-F7CE1A7F99D7}" srcOrd="2" destOrd="0" presId="urn:microsoft.com/office/officeart/2005/8/layout/orgChart1"/>
    <dgm:cxn modelId="{842DAA91-57C6-4F0C-9D97-F76007F0CE0F}" type="presParOf" srcId="{16186025-4BC6-46E2-97F6-F9084F02632D}" destId="{16797127-63BB-4E8C-8005-5E72B3FF9B3C}" srcOrd="3" destOrd="0" presId="urn:microsoft.com/office/officeart/2005/8/layout/orgChart1"/>
    <dgm:cxn modelId="{B771AAF4-8479-4AED-A4E5-63DC7AF8CB20}" type="presParOf" srcId="{16797127-63BB-4E8C-8005-5E72B3FF9B3C}" destId="{4DFEF789-40AF-4966-81EA-F7C1CBE52773}" srcOrd="0" destOrd="0" presId="urn:microsoft.com/office/officeart/2005/8/layout/orgChart1"/>
    <dgm:cxn modelId="{DBECDA48-C5D4-4ACE-9181-D5BE578ED0FA}" type="presParOf" srcId="{4DFEF789-40AF-4966-81EA-F7C1CBE52773}" destId="{A77E27D0-EFD7-495B-9E1A-5A5371B8AB84}" srcOrd="0" destOrd="0" presId="urn:microsoft.com/office/officeart/2005/8/layout/orgChart1"/>
    <dgm:cxn modelId="{08F4CB96-C5DE-4782-BCB4-0A5AF001A3E4}" type="presParOf" srcId="{4DFEF789-40AF-4966-81EA-F7C1CBE52773}" destId="{63F8734B-291F-4EE9-8AEC-5D7130065FE8}" srcOrd="1" destOrd="0" presId="urn:microsoft.com/office/officeart/2005/8/layout/orgChart1"/>
    <dgm:cxn modelId="{EA355A51-25A5-4425-A510-7DCB011D8842}" type="presParOf" srcId="{16797127-63BB-4E8C-8005-5E72B3FF9B3C}" destId="{F1241E53-1837-4666-9A60-B6AD42958195}" srcOrd="1" destOrd="0" presId="urn:microsoft.com/office/officeart/2005/8/layout/orgChart1"/>
    <dgm:cxn modelId="{A9E8D9C1-26B7-4C86-B50E-9AF9C856EB5C}" type="presParOf" srcId="{16797127-63BB-4E8C-8005-5E72B3FF9B3C}" destId="{E1079AD2-0C8E-44F0-9596-6D504E6161CE}" srcOrd="2" destOrd="0" presId="urn:microsoft.com/office/officeart/2005/8/layout/orgChart1"/>
    <dgm:cxn modelId="{F4FD4924-4825-447C-B119-77673482713C}" type="presParOf" srcId="{16186025-4BC6-46E2-97F6-F9084F02632D}" destId="{50C84909-550F-4BDC-8966-B86E5E1786AE}" srcOrd="4" destOrd="0" presId="urn:microsoft.com/office/officeart/2005/8/layout/orgChart1"/>
    <dgm:cxn modelId="{CA9FA35A-BB70-4B8F-88D7-A49D201927DE}" type="presParOf" srcId="{16186025-4BC6-46E2-97F6-F9084F02632D}" destId="{EBCAC25B-3E97-4708-AA7E-0D44E4C06B2C}" srcOrd="5" destOrd="0" presId="urn:microsoft.com/office/officeart/2005/8/layout/orgChart1"/>
    <dgm:cxn modelId="{CEBB8F29-C832-411B-B01E-8E94F80BF943}" type="presParOf" srcId="{EBCAC25B-3E97-4708-AA7E-0D44E4C06B2C}" destId="{56A22D43-7DD1-46E6-B06A-D1D662EE6DAD}" srcOrd="0" destOrd="0" presId="urn:microsoft.com/office/officeart/2005/8/layout/orgChart1"/>
    <dgm:cxn modelId="{9206B56E-39A0-4C97-943B-1B6101B5104A}" type="presParOf" srcId="{56A22D43-7DD1-46E6-B06A-D1D662EE6DAD}" destId="{984A4F3B-0A00-4E5A-9092-1922B8A7FAB3}" srcOrd="0" destOrd="0" presId="urn:microsoft.com/office/officeart/2005/8/layout/orgChart1"/>
    <dgm:cxn modelId="{B7807EAF-C1E0-4C5A-B111-B4C248B57EB2}" type="presParOf" srcId="{56A22D43-7DD1-46E6-B06A-D1D662EE6DAD}" destId="{700B55C8-272E-490B-AB5F-A5C6369E8C79}" srcOrd="1" destOrd="0" presId="urn:microsoft.com/office/officeart/2005/8/layout/orgChart1"/>
    <dgm:cxn modelId="{AC793321-EA69-4EC9-BD09-EF1DB59B888E}" type="presParOf" srcId="{EBCAC25B-3E97-4708-AA7E-0D44E4C06B2C}" destId="{18D6C1B6-F902-4ABE-BB60-086B907C1C3A}" srcOrd="1" destOrd="0" presId="urn:microsoft.com/office/officeart/2005/8/layout/orgChart1"/>
    <dgm:cxn modelId="{7F57E5E1-BFEA-4D4C-AB7A-F8BA4BB54104}" type="presParOf" srcId="{EBCAC25B-3E97-4708-AA7E-0D44E4C06B2C}" destId="{4E3F742A-A2F5-4971-A026-90DA3CFE956C}" srcOrd="2" destOrd="0" presId="urn:microsoft.com/office/officeart/2005/8/layout/orgChart1"/>
    <dgm:cxn modelId="{0197DF97-DEB2-4CC4-9384-A9696B1D3B14}" type="presParOf" srcId="{16186025-4BC6-46E2-97F6-F9084F02632D}" destId="{6262AD45-37CE-4E4E-81E1-98A75BFFED33}" srcOrd="6" destOrd="0" presId="urn:microsoft.com/office/officeart/2005/8/layout/orgChart1"/>
    <dgm:cxn modelId="{A1711D2A-FA39-4971-9CC4-1B2887F3E5F2}" type="presParOf" srcId="{16186025-4BC6-46E2-97F6-F9084F02632D}" destId="{3BDA7C33-CC97-412E-A3EC-9F252E4F5A5A}" srcOrd="7" destOrd="0" presId="urn:microsoft.com/office/officeart/2005/8/layout/orgChart1"/>
    <dgm:cxn modelId="{D9785914-FCA7-445B-BEF7-B7B392076B2B}" type="presParOf" srcId="{3BDA7C33-CC97-412E-A3EC-9F252E4F5A5A}" destId="{2723E1CD-4CEE-4F07-87CD-20B12A8FC827}" srcOrd="0" destOrd="0" presId="urn:microsoft.com/office/officeart/2005/8/layout/orgChart1"/>
    <dgm:cxn modelId="{DBE88FD3-AC7E-4EAD-ABE2-95FC58B825E1}" type="presParOf" srcId="{2723E1CD-4CEE-4F07-87CD-20B12A8FC827}" destId="{E8D3E92A-0794-4DFF-ADF5-83A9F9869BDA}" srcOrd="0" destOrd="0" presId="urn:microsoft.com/office/officeart/2005/8/layout/orgChart1"/>
    <dgm:cxn modelId="{AA8CABCC-23F1-41DB-BB55-0B69BED85775}" type="presParOf" srcId="{2723E1CD-4CEE-4F07-87CD-20B12A8FC827}" destId="{E4F391C2-584B-4F01-9A6E-BB77AA2A997A}" srcOrd="1" destOrd="0" presId="urn:microsoft.com/office/officeart/2005/8/layout/orgChart1"/>
    <dgm:cxn modelId="{0CB21B28-7400-4A85-95F3-8D35DDFF20A7}" type="presParOf" srcId="{3BDA7C33-CC97-412E-A3EC-9F252E4F5A5A}" destId="{B2E11ABB-6C93-42E1-91A1-DB542954BA14}" srcOrd="1" destOrd="0" presId="urn:microsoft.com/office/officeart/2005/8/layout/orgChart1"/>
    <dgm:cxn modelId="{A79363BA-6942-4A3D-96EE-EF91FC3A098D}" type="presParOf" srcId="{3BDA7C33-CC97-412E-A3EC-9F252E4F5A5A}" destId="{7916A290-6350-41CF-9D02-42ED9408F54E}" srcOrd="2" destOrd="0" presId="urn:microsoft.com/office/officeart/2005/8/layout/orgChart1"/>
    <dgm:cxn modelId="{41444A68-C978-4FB9-B16D-E074A8AF67DA}" type="presParOf" srcId="{16186025-4BC6-46E2-97F6-F9084F02632D}" destId="{0AD99682-343B-4485-A14B-DE65F037093C}" srcOrd="8" destOrd="0" presId="urn:microsoft.com/office/officeart/2005/8/layout/orgChart1"/>
    <dgm:cxn modelId="{EADE158F-2672-424C-A81A-1FA8153B337D}" type="presParOf" srcId="{16186025-4BC6-46E2-97F6-F9084F02632D}" destId="{66F58E59-4021-466D-B511-8DE0ABD9D719}" srcOrd="9" destOrd="0" presId="urn:microsoft.com/office/officeart/2005/8/layout/orgChart1"/>
    <dgm:cxn modelId="{A7F4E4F8-316F-423D-B177-B07FC7362989}" type="presParOf" srcId="{66F58E59-4021-466D-B511-8DE0ABD9D719}" destId="{2898F04E-976D-464B-AD88-34BE6A9B7381}" srcOrd="0" destOrd="0" presId="urn:microsoft.com/office/officeart/2005/8/layout/orgChart1"/>
    <dgm:cxn modelId="{5085A75D-3F5B-48E0-BC4D-4B6CEF4C09CF}" type="presParOf" srcId="{2898F04E-976D-464B-AD88-34BE6A9B7381}" destId="{A3E484CC-77C3-47AE-B304-C3AADDD9ACD2}" srcOrd="0" destOrd="0" presId="urn:microsoft.com/office/officeart/2005/8/layout/orgChart1"/>
    <dgm:cxn modelId="{15A23A02-0AC0-4C01-AEF7-E97981EB6F04}" type="presParOf" srcId="{2898F04E-976D-464B-AD88-34BE6A9B7381}" destId="{D14B7165-E531-4D80-8A5A-747F5271B944}" srcOrd="1" destOrd="0" presId="urn:microsoft.com/office/officeart/2005/8/layout/orgChart1"/>
    <dgm:cxn modelId="{4314DF3C-18DD-4A4D-A88E-93BB3CAFC36D}" type="presParOf" srcId="{66F58E59-4021-466D-B511-8DE0ABD9D719}" destId="{E6B0D5A4-884A-4729-864C-B0C32C46727A}" srcOrd="1" destOrd="0" presId="urn:microsoft.com/office/officeart/2005/8/layout/orgChart1"/>
    <dgm:cxn modelId="{036D9D8F-1727-4EAB-BAAE-197140A59F4C}" type="presParOf" srcId="{66F58E59-4021-466D-B511-8DE0ABD9D719}" destId="{3C160525-5F33-4057-894A-F0C79444ED80}" srcOrd="2" destOrd="0" presId="urn:microsoft.com/office/officeart/2005/8/layout/orgChart1"/>
    <dgm:cxn modelId="{DA95B370-8AF7-4404-B9F5-E598FF525DE1}" type="presParOf" srcId="{16186025-4BC6-46E2-97F6-F9084F02632D}" destId="{590C0E8E-9146-4FF8-9E81-E2F73D38D307}" srcOrd="10" destOrd="0" presId="urn:microsoft.com/office/officeart/2005/8/layout/orgChart1"/>
    <dgm:cxn modelId="{C712A8FA-DAA4-46FF-AE0A-9BC80995F2C7}" type="presParOf" srcId="{16186025-4BC6-46E2-97F6-F9084F02632D}" destId="{B8D035F0-4E87-47D4-93A1-5B4102E15684}" srcOrd="11" destOrd="0" presId="urn:microsoft.com/office/officeart/2005/8/layout/orgChart1"/>
    <dgm:cxn modelId="{7EB831E7-3330-4654-9691-D1C3678394F8}" type="presParOf" srcId="{B8D035F0-4E87-47D4-93A1-5B4102E15684}" destId="{B9618333-C328-4BA9-9084-341029DCBB82}" srcOrd="0" destOrd="0" presId="urn:microsoft.com/office/officeart/2005/8/layout/orgChart1"/>
    <dgm:cxn modelId="{4AEB7DC3-8565-43FE-90D1-65ABF1862C3F}" type="presParOf" srcId="{B9618333-C328-4BA9-9084-341029DCBB82}" destId="{BFAB0065-46B4-4707-8B1B-5AD5D852CD73}" srcOrd="0" destOrd="0" presId="urn:microsoft.com/office/officeart/2005/8/layout/orgChart1"/>
    <dgm:cxn modelId="{09A5EA78-2666-4E95-A623-740DF66D2240}" type="presParOf" srcId="{B9618333-C328-4BA9-9084-341029DCBB82}" destId="{52F34D39-2854-4551-9A6B-77D1ED85C57F}" srcOrd="1" destOrd="0" presId="urn:microsoft.com/office/officeart/2005/8/layout/orgChart1"/>
    <dgm:cxn modelId="{8D6AE5CD-222D-4194-84D3-D15F599D5FAA}" type="presParOf" srcId="{B8D035F0-4E87-47D4-93A1-5B4102E15684}" destId="{6B99D04E-64C1-46E8-9CAF-CC329F9FE5FF}" srcOrd="1" destOrd="0" presId="urn:microsoft.com/office/officeart/2005/8/layout/orgChart1"/>
    <dgm:cxn modelId="{724E444A-E865-4AC3-A7E1-E2EE22DAF23B}" type="presParOf" srcId="{B8D035F0-4E87-47D4-93A1-5B4102E15684}" destId="{6E716853-CC29-454F-B69D-A971E0A337C3}" srcOrd="2" destOrd="0" presId="urn:microsoft.com/office/officeart/2005/8/layout/orgChart1"/>
    <dgm:cxn modelId="{C0843509-A974-4A90-BAD9-CDF13E2413CC}" type="presParOf" srcId="{9B84C5AA-6259-445A-8F7A-6D366FCBB4AD}" destId="{82355405-192E-42E7-B905-7A6FE845C6D9}" srcOrd="2" destOrd="0" presId="urn:microsoft.com/office/officeart/2005/8/layout/orgChart1"/>
    <dgm:cxn modelId="{F9710D4C-7EC7-4F97-B6CC-6CA6812CE1F0}" type="presParOf" srcId="{EC72B6B4-B63E-4FE2-8CC2-5FA221770366}" destId="{96956835-3386-449C-A89B-65F7C680246D}" srcOrd="2" destOrd="0" presId="urn:microsoft.com/office/officeart/2005/8/layout/orgChart1"/>
    <dgm:cxn modelId="{4E294C29-BA8C-48C6-880F-93BB9D80F1AF}" type="presParOf" srcId="{EC72B6B4-B63E-4FE2-8CC2-5FA221770366}" destId="{DBD72DFC-EF80-4973-B6E5-D3C9AB052F9E}" srcOrd="3" destOrd="0" presId="urn:microsoft.com/office/officeart/2005/8/layout/orgChart1"/>
    <dgm:cxn modelId="{1A16D448-ED66-459E-8BDE-8DE4AD0A984A}" type="presParOf" srcId="{DBD72DFC-EF80-4973-B6E5-D3C9AB052F9E}" destId="{72B31F8C-4060-4D82-8D0A-8A332812C464}" srcOrd="0" destOrd="0" presId="urn:microsoft.com/office/officeart/2005/8/layout/orgChart1"/>
    <dgm:cxn modelId="{892682C8-ABDC-4CC3-8403-01620090D1E4}" type="presParOf" srcId="{72B31F8C-4060-4D82-8D0A-8A332812C464}" destId="{F0ED6141-24DB-4164-A2D4-B51E750525CD}" srcOrd="0" destOrd="0" presId="urn:microsoft.com/office/officeart/2005/8/layout/orgChart1"/>
    <dgm:cxn modelId="{05D1F8D3-F9EC-4AB2-818D-0F379F334B55}" type="presParOf" srcId="{72B31F8C-4060-4D82-8D0A-8A332812C464}" destId="{45256018-C335-4CDB-9EC5-7AE2ABAC1E00}" srcOrd="1" destOrd="0" presId="urn:microsoft.com/office/officeart/2005/8/layout/orgChart1"/>
    <dgm:cxn modelId="{9F668C95-60F9-4D81-B528-E6632B796C55}" type="presParOf" srcId="{DBD72DFC-EF80-4973-B6E5-D3C9AB052F9E}" destId="{2A7D3334-4741-4667-BCDB-1A78491B4FD4}" srcOrd="1" destOrd="0" presId="urn:microsoft.com/office/officeart/2005/8/layout/orgChart1"/>
    <dgm:cxn modelId="{4137A4DF-E94B-445A-8D0B-90077675AAE8}" type="presParOf" srcId="{2A7D3334-4741-4667-BCDB-1A78491B4FD4}" destId="{CC07306D-4BD7-4477-BB61-A954489058D6}" srcOrd="0" destOrd="0" presId="urn:microsoft.com/office/officeart/2005/8/layout/orgChart1"/>
    <dgm:cxn modelId="{E51A58B9-DB7F-4B47-A620-841706D30FEF}" type="presParOf" srcId="{2A7D3334-4741-4667-BCDB-1A78491B4FD4}" destId="{0ECB6EE9-64D7-46FB-8A0A-B83CD370F0B4}" srcOrd="1" destOrd="0" presId="urn:microsoft.com/office/officeart/2005/8/layout/orgChart1"/>
    <dgm:cxn modelId="{85AE5665-9830-4942-A396-761683660699}" type="presParOf" srcId="{0ECB6EE9-64D7-46FB-8A0A-B83CD370F0B4}" destId="{9D96850F-E3A0-4435-B942-5F48B18AC5F4}" srcOrd="0" destOrd="0" presId="urn:microsoft.com/office/officeart/2005/8/layout/orgChart1"/>
    <dgm:cxn modelId="{0C43767F-F50E-4477-A019-D1E06FA00E36}" type="presParOf" srcId="{9D96850F-E3A0-4435-B942-5F48B18AC5F4}" destId="{CBCDE87F-FA6C-44B8-A9C2-1E747BE7F736}" srcOrd="0" destOrd="0" presId="urn:microsoft.com/office/officeart/2005/8/layout/orgChart1"/>
    <dgm:cxn modelId="{964E99F9-F3F4-4835-83FE-2F579EAD7EA6}" type="presParOf" srcId="{9D96850F-E3A0-4435-B942-5F48B18AC5F4}" destId="{CF9F174C-7D69-49F6-A7FE-7ED9990EB82A}" srcOrd="1" destOrd="0" presId="urn:microsoft.com/office/officeart/2005/8/layout/orgChart1"/>
    <dgm:cxn modelId="{45571FD8-8031-42D9-841F-208AC8BCCE64}" type="presParOf" srcId="{0ECB6EE9-64D7-46FB-8A0A-B83CD370F0B4}" destId="{1934090D-CBAE-4AB8-9BE7-C9762145998D}" srcOrd="1" destOrd="0" presId="urn:microsoft.com/office/officeart/2005/8/layout/orgChart1"/>
    <dgm:cxn modelId="{94AB6BE6-DE7F-4226-8BE6-46E45C652755}" type="presParOf" srcId="{0ECB6EE9-64D7-46FB-8A0A-B83CD370F0B4}" destId="{7BCCCAFF-8404-460B-9A5A-B8BF91057993}" srcOrd="2" destOrd="0" presId="urn:microsoft.com/office/officeart/2005/8/layout/orgChart1"/>
    <dgm:cxn modelId="{1E4D59B9-F3AF-4DCC-9F36-14C10D222B3B}" type="presParOf" srcId="{DBD72DFC-EF80-4973-B6E5-D3C9AB052F9E}" destId="{1DBB8D6B-1EA9-448A-B87B-A162873E7B21}" srcOrd="2" destOrd="0" presId="urn:microsoft.com/office/officeart/2005/8/layout/orgChart1"/>
    <dgm:cxn modelId="{37321554-8C90-4826-A5A4-D39842E92DC1}" type="presParOf" srcId="{EC72B6B4-B63E-4FE2-8CC2-5FA221770366}" destId="{C137CAE9-66E1-459B-A733-9B53B02E07AF}" srcOrd="4" destOrd="0" presId="urn:microsoft.com/office/officeart/2005/8/layout/orgChart1"/>
    <dgm:cxn modelId="{4900F3A5-E2BB-47A8-BD19-519DF3ED589F}" type="presParOf" srcId="{EC72B6B4-B63E-4FE2-8CC2-5FA221770366}" destId="{35CBA655-D40F-4A2B-B71A-711D392B5A84}" srcOrd="5" destOrd="0" presId="urn:microsoft.com/office/officeart/2005/8/layout/orgChart1"/>
    <dgm:cxn modelId="{6CC27E83-5524-437A-A7CF-0E69369FAA9D}" type="presParOf" srcId="{35CBA655-D40F-4A2B-B71A-711D392B5A84}" destId="{9DC86AED-B6DB-4100-9EA0-4E60FFB4A367}" srcOrd="0" destOrd="0" presId="urn:microsoft.com/office/officeart/2005/8/layout/orgChart1"/>
    <dgm:cxn modelId="{F7EF152D-8928-49D9-83E0-9B5A3C52A7D3}" type="presParOf" srcId="{9DC86AED-B6DB-4100-9EA0-4E60FFB4A367}" destId="{A5F2589C-C16C-45F2-9A3D-F2A6CB2476D1}" srcOrd="0" destOrd="0" presId="urn:microsoft.com/office/officeart/2005/8/layout/orgChart1"/>
    <dgm:cxn modelId="{DD71DEB5-01B2-4138-A9CE-A4D096C41F0E}" type="presParOf" srcId="{9DC86AED-B6DB-4100-9EA0-4E60FFB4A367}" destId="{6D7B6648-0B7F-4E1F-B6C5-CE0E2F04B9FF}" srcOrd="1" destOrd="0" presId="urn:microsoft.com/office/officeart/2005/8/layout/orgChart1"/>
    <dgm:cxn modelId="{CA7E4FFB-098B-4C5F-BAB0-2080BE0E541B}" type="presParOf" srcId="{35CBA655-D40F-4A2B-B71A-711D392B5A84}" destId="{29CE8073-D253-4588-B954-7167D33B1947}" srcOrd="1" destOrd="0" presId="urn:microsoft.com/office/officeart/2005/8/layout/orgChart1"/>
    <dgm:cxn modelId="{40572B4C-5860-4D16-A877-4AC9D381DCD1}" type="presParOf" srcId="{29CE8073-D253-4588-B954-7167D33B1947}" destId="{AEDC7120-FE6F-49D8-95F2-AB1B2B6AC9A8}" srcOrd="0" destOrd="0" presId="urn:microsoft.com/office/officeart/2005/8/layout/orgChart1"/>
    <dgm:cxn modelId="{CA1C6A9C-99C7-4143-B389-887ADA6544BB}" type="presParOf" srcId="{29CE8073-D253-4588-B954-7167D33B1947}" destId="{F65159AB-B6AE-4C58-BE85-DB4966F15FBA}" srcOrd="1" destOrd="0" presId="urn:microsoft.com/office/officeart/2005/8/layout/orgChart1"/>
    <dgm:cxn modelId="{E7BFC6C9-1596-4533-A41D-21590E498BFA}" type="presParOf" srcId="{F65159AB-B6AE-4C58-BE85-DB4966F15FBA}" destId="{4413A7CD-B07B-4481-95F7-63264BEB8326}" srcOrd="0" destOrd="0" presId="urn:microsoft.com/office/officeart/2005/8/layout/orgChart1"/>
    <dgm:cxn modelId="{CDA03DF4-4B58-4650-B908-4A879B015D7E}" type="presParOf" srcId="{4413A7CD-B07B-4481-95F7-63264BEB8326}" destId="{6E033C69-6BA8-4812-AE4E-0022A986E944}" srcOrd="0" destOrd="0" presId="urn:microsoft.com/office/officeart/2005/8/layout/orgChart1"/>
    <dgm:cxn modelId="{29D5E838-C731-44F2-A82B-5922CB3E82D4}" type="presParOf" srcId="{4413A7CD-B07B-4481-95F7-63264BEB8326}" destId="{20C564F4-BF5C-4321-B86B-65391CEDEFC7}" srcOrd="1" destOrd="0" presId="urn:microsoft.com/office/officeart/2005/8/layout/orgChart1"/>
    <dgm:cxn modelId="{49925547-A5E1-4A74-A250-A3F2A0831863}" type="presParOf" srcId="{F65159AB-B6AE-4C58-BE85-DB4966F15FBA}" destId="{7C0A51FE-5187-4FBA-A9F6-DFFAA1B3DD3E}" srcOrd="1" destOrd="0" presId="urn:microsoft.com/office/officeart/2005/8/layout/orgChart1"/>
    <dgm:cxn modelId="{18513477-366A-40FA-9F80-FC17EE5ECA40}" type="presParOf" srcId="{F65159AB-B6AE-4C58-BE85-DB4966F15FBA}" destId="{A5F1F6CB-B812-4FEA-ACD0-E838992C8274}" srcOrd="2" destOrd="0" presId="urn:microsoft.com/office/officeart/2005/8/layout/orgChart1"/>
    <dgm:cxn modelId="{ACBEBD21-014C-494F-BC85-F587805A1052}" type="presParOf" srcId="{29CE8073-D253-4588-B954-7167D33B1947}" destId="{28E82B1A-B1F2-4CC5-9B64-B60015CBF624}" srcOrd="2" destOrd="0" presId="urn:microsoft.com/office/officeart/2005/8/layout/orgChart1"/>
    <dgm:cxn modelId="{A08F4FE7-6DD7-46AB-8E57-7CA9BB002873}" type="presParOf" srcId="{29CE8073-D253-4588-B954-7167D33B1947}" destId="{B22DAA2B-22C5-4EFA-A0A6-9AD0235D2103}" srcOrd="3" destOrd="0" presId="urn:microsoft.com/office/officeart/2005/8/layout/orgChart1"/>
    <dgm:cxn modelId="{F2940FE8-8FD4-460A-948B-A8722C77976A}" type="presParOf" srcId="{B22DAA2B-22C5-4EFA-A0A6-9AD0235D2103}" destId="{514CA667-AA27-4D37-9311-1D5D85EF643D}" srcOrd="0" destOrd="0" presId="urn:microsoft.com/office/officeart/2005/8/layout/orgChart1"/>
    <dgm:cxn modelId="{00761DF0-C594-4D5C-A760-2627DAE3A8B7}" type="presParOf" srcId="{514CA667-AA27-4D37-9311-1D5D85EF643D}" destId="{428A54D9-43F6-47B6-B3A2-FDCE09CB5A97}" srcOrd="0" destOrd="0" presId="urn:microsoft.com/office/officeart/2005/8/layout/orgChart1"/>
    <dgm:cxn modelId="{EF95B388-8239-40D3-89AD-4B8A9674E5AE}" type="presParOf" srcId="{514CA667-AA27-4D37-9311-1D5D85EF643D}" destId="{31DAB6FE-4097-4695-9397-7DCCE262634B}" srcOrd="1" destOrd="0" presId="urn:microsoft.com/office/officeart/2005/8/layout/orgChart1"/>
    <dgm:cxn modelId="{7D408C70-8095-48BA-B5D2-8D27DC328A44}" type="presParOf" srcId="{B22DAA2B-22C5-4EFA-A0A6-9AD0235D2103}" destId="{F4CC167B-F2F2-455C-9A45-823F18AFEF9A}" srcOrd="1" destOrd="0" presId="urn:microsoft.com/office/officeart/2005/8/layout/orgChart1"/>
    <dgm:cxn modelId="{18AE7228-0AB0-4C39-BD39-7B9D27119DB3}" type="presParOf" srcId="{B22DAA2B-22C5-4EFA-A0A6-9AD0235D2103}" destId="{A5D0575B-48E0-4A98-88E8-8B4961A6F762}" srcOrd="2" destOrd="0" presId="urn:microsoft.com/office/officeart/2005/8/layout/orgChart1"/>
    <dgm:cxn modelId="{69E6A863-6108-4F37-8361-02FAA0C05D38}" type="presParOf" srcId="{35CBA655-D40F-4A2B-B71A-711D392B5A84}" destId="{528156B2-647C-44D5-ABAD-EBDCDF85B348}" srcOrd="2" destOrd="0" presId="urn:microsoft.com/office/officeart/2005/8/layout/orgChart1"/>
    <dgm:cxn modelId="{E371D766-8195-4E6C-9F7B-F9E3CA260FEA}" type="presParOf" srcId="{25A00B3E-FEA8-439F-999E-8DB6BC95DBC0}" destId="{B87F60ED-85BE-4872-BA6E-CDCB9CBDC6A3}" srcOrd="2" destOrd="0" presId="urn:microsoft.com/office/officeart/2005/8/layout/orgChart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83D180C-73E9-B840-BD72-21C9A69F1988}">
      <dsp:nvSpPr>
        <dsp:cNvPr id="0" name=""/>
        <dsp:cNvSpPr/>
      </dsp:nvSpPr>
      <dsp:spPr>
        <a:xfrm>
          <a:off x="0" y="86129"/>
          <a:ext cx="8382000" cy="8751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The ease with which software can be made to demonstrate its faults through testing</a:t>
          </a:r>
          <a:endParaRPr lang="en-US" sz="2200" kern="1200" dirty="0"/>
        </a:p>
      </dsp:txBody>
      <dsp:txXfrm>
        <a:off x="0" y="86129"/>
        <a:ext cx="8382000" cy="875160"/>
      </dsp:txXfrm>
    </dsp:sp>
    <dsp:sp modelId="{12A089A2-C59E-5A4A-8729-7B5E014A41EF}">
      <dsp:nvSpPr>
        <dsp:cNvPr id="0" name=""/>
        <dsp:cNvSpPr/>
      </dsp:nvSpPr>
      <dsp:spPr>
        <a:xfrm>
          <a:off x="0" y="1024649"/>
          <a:ext cx="8382000" cy="8751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If a fault is present in a system, then we want it to fail during testing as quickly as possible.</a:t>
          </a:r>
          <a:endParaRPr lang="en-US" sz="2200" kern="1200" dirty="0"/>
        </a:p>
      </dsp:txBody>
      <dsp:txXfrm>
        <a:off x="0" y="1024649"/>
        <a:ext cx="8382000" cy="875160"/>
      </dsp:txXfrm>
    </dsp:sp>
    <dsp:sp modelId="{0574FA96-6485-5141-915A-756F924053C5}">
      <dsp:nvSpPr>
        <dsp:cNvPr id="0" name=""/>
        <dsp:cNvSpPr/>
      </dsp:nvSpPr>
      <dsp:spPr>
        <a:xfrm>
          <a:off x="0" y="1963169"/>
          <a:ext cx="8382000" cy="8751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At least 40% effort goes for testing</a:t>
          </a:r>
          <a:endParaRPr lang="en-US" sz="2200" kern="1200" dirty="0"/>
        </a:p>
      </dsp:txBody>
      <dsp:txXfrm>
        <a:off x="0" y="1963169"/>
        <a:ext cx="8382000" cy="875160"/>
      </dsp:txXfrm>
    </dsp:sp>
    <dsp:sp modelId="{E8B1F90D-8D78-0C4F-A35F-F6EA2218C4DF}">
      <dsp:nvSpPr>
        <dsp:cNvPr id="0" name=""/>
        <dsp:cNvSpPr/>
      </dsp:nvSpPr>
      <dsp:spPr>
        <a:xfrm>
          <a:off x="0" y="2838330"/>
          <a:ext cx="8382000" cy="364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129" tIns="27940" rIns="156464" bIns="27940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Done by developers, testers, and verifiers (tools)</a:t>
          </a:r>
          <a:endParaRPr lang="en-US" sz="1700" kern="1200" dirty="0"/>
        </a:p>
      </dsp:txBody>
      <dsp:txXfrm>
        <a:off x="0" y="2838330"/>
        <a:ext cx="8382000" cy="364320"/>
      </dsp:txXfrm>
    </dsp:sp>
    <dsp:sp modelId="{3D3425A9-412E-8749-AD02-D2AB764B9901}">
      <dsp:nvSpPr>
        <dsp:cNvPr id="0" name=""/>
        <dsp:cNvSpPr/>
      </dsp:nvSpPr>
      <dsp:spPr>
        <a:xfrm>
          <a:off x="0" y="3202650"/>
          <a:ext cx="8382000" cy="8751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Specialized software for testing</a:t>
          </a:r>
          <a:endParaRPr lang="en-US" sz="2200" kern="1200" dirty="0"/>
        </a:p>
      </dsp:txBody>
      <dsp:txXfrm>
        <a:off x="0" y="3202650"/>
        <a:ext cx="8382000" cy="875160"/>
      </dsp:txXfrm>
    </dsp:sp>
    <dsp:sp modelId="{696B9C42-2FBB-4D47-9581-36943B2552DF}">
      <dsp:nvSpPr>
        <dsp:cNvPr id="0" name=""/>
        <dsp:cNvSpPr/>
      </dsp:nvSpPr>
      <dsp:spPr>
        <a:xfrm>
          <a:off x="0" y="4077810"/>
          <a:ext cx="8382000" cy="865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129" tIns="27940" rIns="156464" bIns="27940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Test harness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Simple playback capability </a:t>
          </a:r>
          <a:endParaRPr lang="en-US" sz="17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Specialized testing chamber</a:t>
          </a:r>
          <a:endParaRPr lang="en-US" sz="1700" kern="1200" dirty="0"/>
        </a:p>
      </dsp:txBody>
      <dsp:txXfrm>
        <a:off x="0" y="4077810"/>
        <a:ext cx="8382000" cy="86526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8E82B1A-B1F2-4CC5-9B64-B60015CBF624}">
      <dsp:nvSpPr>
        <dsp:cNvPr id="0" name=""/>
        <dsp:cNvSpPr/>
      </dsp:nvSpPr>
      <dsp:spPr>
        <a:xfrm>
          <a:off x="6286879" y="1297253"/>
          <a:ext cx="477964" cy="14951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95183"/>
              </a:lnTo>
              <a:lnTo>
                <a:pt x="477964" y="1495183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DC7120-FE6F-49D8-95F2-AB1B2B6AC9A8}">
      <dsp:nvSpPr>
        <dsp:cNvPr id="0" name=""/>
        <dsp:cNvSpPr/>
      </dsp:nvSpPr>
      <dsp:spPr>
        <a:xfrm>
          <a:off x="6286879" y="1297253"/>
          <a:ext cx="477964" cy="8357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35727"/>
              </a:lnTo>
              <a:lnTo>
                <a:pt x="477964" y="835727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7CAE9-66E1-459B-A733-9B53B02E07AF}">
      <dsp:nvSpPr>
        <dsp:cNvPr id="0" name=""/>
        <dsp:cNvSpPr/>
      </dsp:nvSpPr>
      <dsp:spPr>
        <a:xfrm>
          <a:off x="3902974" y="449059"/>
          <a:ext cx="2923789" cy="3999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767"/>
              </a:lnTo>
              <a:lnTo>
                <a:pt x="2923789" y="305767"/>
              </a:lnTo>
              <a:lnTo>
                <a:pt x="2923789" y="399907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07306D-4BD7-4477-BB61-A954489058D6}">
      <dsp:nvSpPr>
        <dsp:cNvPr id="0" name=""/>
        <dsp:cNvSpPr/>
      </dsp:nvSpPr>
      <dsp:spPr>
        <a:xfrm>
          <a:off x="3093336" y="1390873"/>
          <a:ext cx="232530" cy="10231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23198"/>
              </a:lnTo>
              <a:lnTo>
                <a:pt x="232530" y="102319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56835-3386-449C-A89B-65F7C680246D}">
      <dsp:nvSpPr>
        <dsp:cNvPr id="0" name=""/>
        <dsp:cNvSpPr/>
      </dsp:nvSpPr>
      <dsp:spPr>
        <a:xfrm>
          <a:off x="3589285" y="449059"/>
          <a:ext cx="313689" cy="461125"/>
        </a:xfrm>
        <a:custGeom>
          <a:avLst/>
          <a:gdLst/>
          <a:ahLst/>
          <a:cxnLst/>
          <a:rect l="0" t="0" r="0" b="0"/>
          <a:pathLst>
            <a:path>
              <a:moveTo>
                <a:pt x="313689" y="0"/>
              </a:moveTo>
              <a:lnTo>
                <a:pt x="313689" y="366985"/>
              </a:lnTo>
              <a:lnTo>
                <a:pt x="0" y="366985"/>
              </a:lnTo>
              <a:lnTo>
                <a:pt x="0" y="46112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0C0E8E-9146-4FF8-9E81-E2F73D38D307}">
      <dsp:nvSpPr>
        <dsp:cNvPr id="0" name=""/>
        <dsp:cNvSpPr/>
      </dsp:nvSpPr>
      <dsp:spPr>
        <a:xfrm>
          <a:off x="174127" y="1381791"/>
          <a:ext cx="217892" cy="35748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74892"/>
              </a:lnTo>
              <a:lnTo>
                <a:pt x="217892" y="3574892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D99682-343B-4485-A14B-DE65F037093C}">
      <dsp:nvSpPr>
        <dsp:cNvPr id="0" name=""/>
        <dsp:cNvSpPr/>
      </dsp:nvSpPr>
      <dsp:spPr>
        <a:xfrm>
          <a:off x="174127" y="1381791"/>
          <a:ext cx="217892" cy="29383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38325"/>
              </a:lnTo>
              <a:lnTo>
                <a:pt x="217892" y="2938325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62AD45-37CE-4E4E-81E1-98A75BFFED33}">
      <dsp:nvSpPr>
        <dsp:cNvPr id="0" name=""/>
        <dsp:cNvSpPr/>
      </dsp:nvSpPr>
      <dsp:spPr>
        <a:xfrm>
          <a:off x="174127" y="1381791"/>
          <a:ext cx="217892" cy="23017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01758"/>
              </a:lnTo>
              <a:lnTo>
                <a:pt x="217892" y="230175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C84909-550F-4BDC-8966-B86E5E1786AE}">
      <dsp:nvSpPr>
        <dsp:cNvPr id="0" name=""/>
        <dsp:cNvSpPr/>
      </dsp:nvSpPr>
      <dsp:spPr>
        <a:xfrm>
          <a:off x="174127" y="1381791"/>
          <a:ext cx="217892" cy="1665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65191"/>
              </a:lnTo>
              <a:lnTo>
                <a:pt x="217892" y="166519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B3E9C0-0CE1-4B88-9E71-F7CE1A7F99D7}">
      <dsp:nvSpPr>
        <dsp:cNvPr id="0" name=""/>
        <dsp:cNvSpPr/>
      </dsp:nvSpPr>
      <dsp:spPr>
        <a:xfrm>
          <a:off x="174127" y="1381791"/>
          <a:ext cx="217892" cy="10286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28624"/>
              </a:lnTo>
              <a:lnTo>
                <a:pt x="217892" y="1028624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3ED5F7-10A0-45C9-B814-5804FA76917E}">
      <dsp:nvSpPr>
        <dsp:cNvPr id="0" name=""/>
        <dsp:cNvSpPr/>
      </dsp:nvSpPr>
      <dsp:spPr>
        <a:xfrm>
          <a:off x="174127" y="1381791"/>
          <a:ext cx="217892" cy="3920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2058"/>
              </a:lnTo>
              <a:lnTo>
                <a:pt x="217892" y="39205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BC68A0-CABF-4126-884C-C90818E1E26E}">
      <dsp:nvSpPr>
        <dsp:cNvPr id="0" name=""/>
        <dsp:cNvSpPr/>
      </dsp:nvSpPr>
      <dsp:spPr>
        <a:xfrm>
          <a:off x="870635" y="449059"/>
          <a:ext cx="3032339" cy="208646"/>
        </a:xfrm>
        <a:custGeom>
          <a:avLst/>
          <a:gdLst/>
          <a:ahLst/>
          <a:cxnLst/>
          <a:rect l="0" t="0" r="0" b="0"/>
          <a:pathLst>
            <a:path>
              <a:moveTo>
                <a:pt x="3032339" y="0"/>
              </a:moveTo>
              <a:lnTo>
                <a:pt x="3032339" y="114505"/>
              </a:lnTo>
              <a:lnTo>
                <a:pt x="0" y="114505"/>
              </a:lnTo>
              <a:lnTo>
                <a:pt x="0" y="208646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D90FEA-3135-49C2-A3C0-CFEDDC6405B3}">
      <dsp:nvSpPr>
        <dsp:cNvPr id="0" name=""/>
        <dsp:cNvSpPr/>
      </dsp:nvSpPr>
      <dsp:spPr>
        <a:xfrm>
          <a:off x="3310147" y="772"/>
          <a:ext cx="1185655" cy="44828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Testability</a:t>
          </a:r>
          <a:endParaRPr lang="en-US" sz="1800" kern="1200" dirty="0"/>
        </a:p>
      </dsp:txBody>
      <dsp:txXfrm>
        <a:off x="3310147" y="772"/>
        <a:ext cx="1185655" cy="448286"/>
      </dsp:txXfrm>
    </dsp:sp>
    <dsp:sp modelId="{5E5C4910-D5C2-4117-9825-0F4E2308A1D4}">
      <dsp:nvSpPr>
        <dsp:cNvPr id="0" name=""/>
        <dsp:cNvSpPr/>
      </dsp:nvSpPr>
      <dsp:spPr>
        <a:xfrm>
          <a:off x="0" y="657705"/>
          <a:ext cx="1741270" cy="724085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anage controllability and </a:t>
          </a:r>
          <a:r>
            <a:rPr lang="en-US" sz="1600" kern="1200" dirty="0" err="1" smtClean="0"/>
            <a:t>Observability</a:t>
          </a:r>
          <a:endParaRPr lang="en-US" sz="1600" kern="1200" dirty="0"/>
        </a:p>
      </dsp:txBody>
      <dsp:txXfrm>
        <a:off x="0" y="657705"/>
        <a:ext cx="1741270" cy="724085"/>
      </dsp:txXfrm>
    </dsp:sp>
    <dsp:sp modelId="{1064D61A-5C37-497D-A6F5-6312AB6E3F5A}">
      <dsp:nvSpPr>
        <dsp:cNvPr id="0" name=""/>
        <dsp:cNvSpPr/>
      </dsp:nvSpPr>
      <dsp:spPr>
        <a:xfrm>
          <a:off x="392019" y="1549705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cord and playback</a:t>
          </a:r>
          <a:endParaRPr lang="en-US" sz="1600" kern="1200" dirty="0"/>
        </a:p>
      </dsp:txBody>
      <dsp:txXfrm>
        <a:off x="392019" y="1549705"/>
        <a:ext cx="2114074" cy="448286"/>
      </dsp:txXfrm>
    </dsp:sp>
    <dsp:sp modelId="{A77E27D0-EFD7-495B-9E1A-5A5371B8AB84}">
      <dsp:nvSpPr>
        <dsp:cNvPr id="0" name=""/>
        <dsp:cNvSpPr/>
      </dsp:nvSpPr>
      <dsp:spPr>
        <a:xfrm>
          <a:off x="392019" y="2186272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pecialized Interface</a:t>
          </a:r>
          <a:endParaRPr lang="en-US" sz="1600" kern="1200" dirty="0"/>
        </a:p>
      </dsp:txBody>
      <dsp:txXfrm>
        <a:off x="392019" y="2186272"/>
        <a:ext cx="2114074" cy="448286"/>
      </dsp:txXfrm>
    </dsp:sp>
    <dsp:sp modelId="{984A4F3B-0A00-4E5A-9092-1922B8A7FAB3}">
      <dsp:nvSpPr>
        <dsp:cNvPr id="0" name=""/>
        <dsp:cNvSpPr/>
      </dsp:nvSpPr>
      <dsp:spPr>
        <a:xfrm>
          <a:off x="392019" y="2822839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eparate interface and implementation</a:t>
          </a:r>
          <a:endParaRPr lang="en-US" sz="1600" kern="1200" dirty="0"/>
        </a:p>
      </dsp:txBody>
      <dsp:txXfrm>
        <a:off x="392019" y="2822839"/>
        <a:ext cx="2114074" cy="448286"/>
      </dsp:txXfrm>
    </dsp:sp>
    <dsp:sp modelId="{E8D3E92A-0794-4DFF-ADF5-83A9F9869BDA}">
      <dsp:nvSpPr>
        <dsp:cNvPr id="0" name=""/>
        <dsp:cNvSpPr/>
      </dsp:nvSpPr>
      <dsp:spPr>
        <a:xfrm>
          <a:off x="392019" y="3459406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Executable assertion</a:t>
          </a:r>
          <a:endParaRPr lang="en-US" sz="1600" kern="1200" dirty="0"/>
        </a:p>
      </dsp:txBody>
      <dsp:txXfrm>
        <a:off x="392019" y="3459406"/>
        <a:ext cx="2114074" cy="448286"/>
      </dsp:txXfrm>
    </dsp:sp>
    <dsp:sp modelId="{A3E484CC-77C3-47AE-B304-C3AADDD9ACD2}">
      <dsp:nvSpPr>
        <dsp:cNvPr id="0" name=""/>
        <dsp:cNvSpPr/>
      </dsp:nvSpPr>
      <dsp:spPr>
        <a:xfrm>
          <a:off x="392019" y="4095973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ocalize data store</a:t>
          </a:r>
          <a:endParaRPr lang="en-US" sz="1600" kern="1200" dirty="0"/>
        </a:p>
      </dsp:txBody>
      <dsp:txXfrm>
        <a:off x="392019" y="4095973"/>
        <a:ext cx="2114074" cy="448286"/>
      </dsp:txXfrm>
    </dsp:sp>
    <dsp:sp modelId="{BFAB0065-46B4-4707-8B1B-5AD5D852CD73}">
      <dsp:nvSpPr>
        <dsp:cNvPr id="0" name=""/>
        <dsp:cNvSpPr/>
      </dsp:nvSpPr>
      <dsp:spPr>
        <a:xfrm>
          <a:off x="392019" y="4732540"/>
          <a:ext cx="2114074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andbox</a:t>
          </a:r>
          <a:endParaRPr lang="en-US" sz="1600" kern="1200" dirty="0"/>
        </a:p>
      </dsp:txBody>
      <dsp:txXfrm>
        <a:off x="392019" y="4732540"/>
        <a:ext cx="2114074" cy="448286"/>
      </dsp:txXfrm>
    </dsp:sp>
    <dsp:sp modelId="{F0ED6141-24DB-4164-A2D4-B51E750525CD}">
      <dsp:nvSpPr>
        <dsp:cNvPr id="0" name=""/>
        <dsp:cNvSpPr/>
      </dsp:nvSpPr>
      <dsp:spPr>
        <a:xfrm>
          <a:off x="2969349" y="910184"/>
          <a:ext cx="1239871" cy="48068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nternal Monitoring</a:t>
          </a:r>
          <a:endParaRPr lang="en-US" sz="1600" kern="1200" dirty="0"/>
        </a:p>
      </dsp:txBody>
      <dsp:txXfrm>
        <a:off x="2969349" y="910184"/>
        <a:ext cx="1239871" cy="480688"/>
      </dsp:txXfrm>
    </dsp:sp>
    <dsp:sp modelId="{CBCDE87F-FA6C-44B8-A9C2-1E747BE7F736}">
      <dsp:nvSpPr>
        <dsp:cNvPr id="0" name=""/>
        <dsp:cNvSpPr/>
      </dsp:nvSpPr>
      <dsp:spPr>
        <a:xfrm>
          <a:off x="3325867" y="2052060"/>
          <a:ext cx="2008135" cy="724023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ntroduce built-in monitor in the system</a:t>
          </a:r>
          <a:endParaRPr lang="en-US" sz="1600" kern="1200" dirty="0"/>
        </a:p>
      </dsp:txBody>
      <dsp:txXfrm>
        <a:off x="3325867" y="2052060"/>
        <a:ext cx="2008135" cy="724023"/>
      </dsp:txXfrm>
    </dsp:sp>
    <dsp:sp modelId="{A5F2589C-C16C-45F2-9A3D-F2A6CB2476D1}">
      <dsp:nvSpPr>
        <dsp:cNvPr id="0" name=""/>
        <dsp:cNvSpPr/>
      </dsp:nvSpPr>
      <dsp:spPr>
        <a:xfrm>
          <a:off x="6151908" y="848966"/>
          <a:ext cx="1349710" cy="448286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anage Complexity</a:t>
          </a:r>
          <a:endParaRPr lang="en-US" sz="1600" kern="1200" dirty="0"/>
        </a:p>
      </dsp:txBody>
      <dsp:txXfrm>
        <a:off x="6151908" y="848966"/>
        <a:ext cx="1349710" cy="448286"/>
      </dsp:txXfrm>
    </dsp:sp>
    <dsp:sp modelId="{6E033C69-6BA8-4812-AE4E-0022A986E944}">
      <dsp:nvSpPr>
        <dsp:cNvPr id="0" name=""/>
        <dsp:cNvSpPr/>
      </dsp:nvSpPr>
      <dsp:spPr>
        <a:xfrm>
          <a:off x="6764844" y="1908837"/>
          <a:ext cx="1588333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imit Structural complexity</a:t>
          </a:r>
          <a:endParaRPr lang="en-US" sz="1600" kern="1200" dirty="0"/>
        </a:p>
      </dsp:txBody>
      <dsp:txXfrm>
        <a:off x="6764844" y="1908837"/>
        <a:ext cx="1588333" cy="448286"/>
      </dsp:txXfrm>
    </dsp:sp>
    <dsp:sp modelId="{428A54D9-43F6-47B6-B3A2-FDCE09CB5A97}">
      <dsp:nvSpPr>
        <dsp:cNvPr id="0" name=""/>
        <dsp:cNvSpPr/>
      </dsp:nvSpPr>
      <dsp:spPr>
        <a:xfrm>
          <a:off x="6764844" y="2568293"/>
          <a:ext cx="1588333" cy="448286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Limit non-determinism</a:t>
          </a:r>
          <a:endParaRPr lang="en-US" sz="1600" kern="1200" dirty="0"/>
        </a:p>
      </dsp:txBody>
      <dsp:txXfrm>
        <a:off x="6764844" y="2568293"/>
        <a:ext cx="1588333" cy="4482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9377574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image" Target="../media/image5.png"/><Relationship Id="rId4" Type="http://schemas.openxmlformats.org/officeDocument/2006/relationships/tags" Target="../tags/tag3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4F724D-0587-459F-80C6-ACE2A0F5DCA5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17989F-96F8-4C2A-A28D-94FCCC1940DA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F10C15-23EC-46C7-9524-4C66D075A074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723" name="think-cell Slide" r:id="rId7" imgW="360" imgH="36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   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032E01-4605-43DE-8129-F995C1DEBCA8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C06C02-BCC5-4A57-BC46-5D7727BB0BB3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11779-2D67-471C-9D95-BAB168EA2A5D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C0A3B0-6CFD-479E-9059-45686EAA74E3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ABF2EF-6CA8-4AF8-B29C-E9AEB937B93E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66454D-1367-437C-AA78-A7B95DE4A7F6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29A701-612E-4460-A741-54FD35FA20A7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D3938D-3E5E-431C-9A8D-F7083632C994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84B85C3-2DF3-4152-A050-1FA9CFF3C691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</a:t>
            </a:r>
            <a:r>
              <a:rPr lang="en-GB" sz="3600" smtClean="0"/>
              <a:t>ZG653 (RL </a:t>
            </a:r>
            <a:r>
              <a:rPr lang="en-GB" sz="3600" dirty="0" smtClean="0"/>
              <a:t>6.2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 Testability and Its Tactics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smtClean="0">
                <a:solidFill>
                  <a:schemeClr val="bg1"/>
                </a:solidFill>
              </a:rPr>
              <a:t> 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nal Monitor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mplement a built-in monitoring mechanism</a:t>
            </a:r>
          </a:p>
          <a:p>
            <a:pPr lvl="1"/>
            <a:r>
              <a:rPr lang="en-US" dirty="0" smtClean="0"/>
              <a:t>One should be able to turn on or off</a:t>
            </a:r>
          </a:p>
          <a:p>
            <a:pPr lvl="2"/>
            <a:r>
              <a:rPr lang="en-US" dirty="0" smtClean="0"/>
              <a:t>one example is logging</a:t>
            </a:r>
          </a:p>
          <a:p>
            <a:pPr lvl="1"/>
            <a:r>
              <a:rPr lang="en-US" dirty="0" smtClean="0"/>
              <a:t>Performed typically by instrumentation- AOP, Preprocessor macro. Instrument the code to introduce recorder at some point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3C123A7-8E00-4A4B-980C-270703ABE529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674799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- Allocation of Responsi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indent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en-US" sz="2800" dirty="0" smtClean="0"/>
              <a:t>Identify the services are </a:t>
            </a:r>
            <a:r>
              <a:rPr lang="en-US" sz="2800" dirty="0"/>
              <a:t>most critical and hence need to be most thoroughly tested</a:t>
            </a:r>
            <a:r>
              <a:rPr lang="en-US" sz="2800" dirty="0" smtClean="0"/>
              <a:t>.</a:t>
            </a:r>
          </a:p>
          <a:p>
            <a:pPr lvl="1"/>
            <a:r>
              <a:rPr lang="en-US" sz="2400" dirty="0"/>
              <a:t>Identify the modules, subsystems offering these services</a:t>
            </a:r>
          </a:p>
          <a:p>
            <a:r>
              <a:rPr lang="en-US" sz="2800" dirty="0"/>
              <a:t>For each such </a:t>
            </a:r>
            <a:r>
              <a:rPr lang="en-US" sz="2800" dirty="0" smtClean="0"/>
              <a:t>service</a:t>
            </a:r>
          </a:p>
          <a:p>
            <a:pPr lvl="1"/>
            <a:r>
              <a:rPr lang="en-US" sz="2400" dirty="0" smtClean="0"/>
              <a:t>Ensure that internal monitoring mechanism like logging is well designed</a:t>
            </a:r>
          </a:p>
          <a:p>
            <a:pPr lvl="1"/>
            <a:r>
              <a:rPr lang="en-US" sz="2400" dirty="0" smtClean="0"/>
              <a:t>Make sure that </a:t>
            </a:r>
            <a:r>
              <a:rPr lang="en-US" sz="2400" kern="1100" dirty="0" smtClean="0"/>
              <a:t>the </a:t>
            </a:r>
            <a:r>
              <a:rPr lang="en-US" sz="2400" kern="1100" dirty="0"/>
              <a:t>allocation of functionality </a:t>
            </a:r>
            <a:r>
              <a:rPr lang="en-US" sz="2400" kern="1100" dirty="0" smtClean="0"/>
              <a:t>provides </a:t>
            </a:r>
          </a:p>
          <a:p>
            <a:pPr lvl="2"/>
            <a:r>
              <a:rPr lang="en-US" sz="2000" kern="1100" dirty="0" smtClean="0"/>
              <a:t>low </a:t>
            </a:r>
            <a:r>
              <a:rPr lang="en-US" sz="2000" kern="1100" dirty="0"/>
              <a:t>coupling, </a:t>
            </a:r>
            <a:endParaRPr lang="en-US" sz="2000" kern="1100" dirty="0" smtClean="0"/>
          </a:p>
          <a:p>
            <a:pPr lvl="2"/>
            <a:r>
              <a:rPr lang="en-US" sz="2000" kern="1100" dirty="0" smtClean="0"/>
              <a:t>strong </a:t>
            </a:r>
            <a:r>
              <a:rPr lang="en-US" sz="2000" kern="1100" dirty="0"/>
              <a:t>separation of concerns, and </a:t>
            </a:r>
            <a:endParaRPr lang="en-US" sz="2000" kern="1100" dirty="0" smtClean="0"/>
          </a:p>
          <a:p>
            <a:pPr lvl="2"/>
            <a:r>
              <a:rPr lang="en-US" sz="2000" kern="1100" dirty="0" smtClean="0"/>
              <a:t>low </a:t>
            </a:r>
            <a:r>
              <a:rPr lang="en-US" sz="2000" kern="1100" dirty="0"/>
              <a:t>structural complexity.</a:t>
            </a:r>
            <a:endParaRPr lang="en-US" sz="2000" kern="1100" dirty="0">
              <a:latin typeface="Times New Roman"/>
              <a:ea typeface="Times New Roman"/>
            </a:endParaRPr>
          </a:p>
          <a:p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EDD1E2-1CBA-4533-B1A7-344137B19DCE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3243314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- Testing Dat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800" dirty="0" smtClean="0"/>
              <a:t>Identify the data entities that are related to the critical services need </a:t>
            </a:r>
            <a:r>
              <a:rPr lang="en-US" sz="2800" dirty="0"/>
              <a:t>to be most thoroughly tested</a:t>
            </a:r>
            <a:r>
              <a:rPr lang="en-US" sz="2800" dirty="0" smtClean="0"/>
              <a:t>. </a:t>
            </a:r>
          </a:p>
          <a:p>
            <a:pPr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endParaRPr lang="en-US" sz="2800" dirty="0" smtClean="0"/>
          </a:p>
          <a:p>
            <a:pPr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sz="2800" dirty="0" smtClean="0"/>
              <a:t>Ensure that </a:t>
            </a:r>
            <a:r>
              <a:rPr lang="en-US" sz="2800" kern="1100" dirty="0"/>
              <a:t>creation, initialization, persistence, manipulation, translation, and destruction of </a:t>
            </a:r>
            <a:r>
              <a:rPr lang="en-US" sz="2800" kern="1100" dirty="0" smtClean="0"/>
              <a:t>these data entities are possible--</a:t>
            </a:r>
            <a:endParaRPr lang="en-US" sz="2800" dirty="0" smtClean="0"/>
          </a:p>
          <a:p>
            <a:pPr lvl="1"/>
            <a:r>
              <a:rPr lang="en-US" sz="2400" dirty="0" smtClean="0"/>
              <a:t>State Snapshot: Ensure that the values of these data entities can be captured if required, while the system is in execution or at fault</a:t>
            </a:r>
          </a:p>
          <a:p>
            <a:pPr lvl="1"/>
            <a:r>
              <a:rPr lang="en-US" sz="2400" dirty="0" smtClean="0"/>
              <a:t>Replay: Ensure that the desired values of these data entities can be set (state injection) during testing so that it is possible to recreate the faulty behavio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8FEBC50-C87B-40EE-82D2-2B67A2B2ED45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915570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27000"/>
            <a:ext cx="8839200" cy="939800"/>
          </a:xfrm>
        </p:spPr>
        <p:txBody>
          <a:bodyPr/>
          <a:lstStyle/>
          <a:p>
            <a:r>
              <a:rPr lang="en-US" dirty="0" smtClean="0"/>
              <a:t>Design Checklist- Testing Infrastru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Font typeface="Symbol"/>
              <a:buChar char=""/>
              <a:tabLst>
                <a:tab pos="228600" algn="l"/>
                <a:tab pos="274320" algn="l"/>
              </a:tabLst>
            </a:pPr>
            <a:r>
              <a:rPr lang="en-US" kern="1100" dirty="0" smtClean="0"/>
              <a:t>Is it possible to inject faults into the communication channel and monitoring the state of the communication</a:t>
            </a:r>
          </a:p>
          <a:p>
            <a:pPr lvl="0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Font typeface="Symbol"/>
              <a:buChar char=""/>
              <a:tabLst>
                <a:tab pos="228600" algn="l"/>
                <a:tab pos="274320" algn="l"/>
              </a:tabLst>
            </a:pPr>
            <a:r>
              <a:rPr lang="en-US" kern="1100" dirty="0" smtClean="0"/>
              <a:t>Is it possible to execute test suites and capture results for a distributed set of systems?</a:t>
            </a:r>
          </a:p>
          <a:p>
            <a:pPr lvl="0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Font typeface="Symbol"/>
              <a:buChar char=""/>
              <a:tabLst>
                <a:tab pos="228600" algn="l"/>
                <a:tab pos="274320" algn="l"/>
              </a:tabLst>
            </a:pPr>
            <a:r>
              <a:rPr lang="en-US" kern="1100" dirty="0" smtClean="0"/>
              <a:t>Testing for potential race condition- check if it is possible to</a:t>
            </a:r>
            <a:r>
              <a:rPr lang="en-US" dirty="0" smtClean="0"/>
              <a:t>explicitly </a:t>
            </a:r>
            <a:r>
              <a:rPr lang="en-US" dirty="0"/>
              <a:t>map </a:t>
            </a:r>
            <a:endParaRPr lang="en-US" kern="1100" dirty="0" smtClean="0"/>
          </a:p>
          <a:p>
            <a:pPr lvl="1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Font typeface="Symbol"/>
              <a:buChar char=""/>
              <a:tabLst>
                <a:tab pos="228600" algn="l"/>
                <a:tab pos="274320" algn="l"/>
              </a:tabLst>
            </a:pPr>
            <a:r>
              <a:rPr lang="en-US" dirty="0" smtClean="0"/>
              <a:t>processes </a:t>
            </a:r>
            <a:r>
              <a:rPr lang="en-US" dirty="0"/>
              <a:t>to </a:t>
            </a:r>
            <a:r>
              <a:rPr lang="en-US" dirty="0" smtClean="0"/>
              <a:t>processors</a:t>
            </a:r>
          </a:p>
          <a:p>
            <a:pPr lvl="1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Font typeface="Symbol"/>
              <a:buChar char=""/>
              <a:tabLst>
                <a:tab pos="228600" algn="l"/>
                <a:tab pos="274320" algn="l"/>
              </a:tabLst>
            </a:pPr>
            <a:r>
              <a:rPr lang="en-US" dirty="0" smtClean="0"/>
              <a:t>threads </a:t>
            </a:r>
            <a:r>
              <a:rPr lang="en-US" dirty="0"/>
              <a:t>to </a:t>
            </a:r>
            <a:r>
              <a:rPr lang="en-US" dirty="0" smtClean="0"/>
              <a:t>processes</a:t>
            </a:r>
          </a:p>
          <a:p>
            <a:pPr marL="457200" lvl="1" indent="0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None/>
              <a:tabLst>
                <a:tab pos="228600" algn="l"/>
                <a:tab pos="274320" algn="l"/>
              </a:tabLst>
            </a:pPr>
            <a:endParaRPr lang="en-US" dirty="0" smtClean="0"/>
          </a:p>
          <a:p>
            <a:pPr marL="57150" indent="0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None/>
              <a:tabLst>
                <a:tab pos="228600" algn="l"/>
                <a:tab pos="274320" algn="l"/>
              </a:tabLst>
            </a:pPr>
            <a:r>
              <a:rPr lang="en-US" dirty="0" smtClean="0"/>
              <a:t>So </a:t>
            </a:r>
            <a:r>
              <a:rPr lang="en-US" dirty="0"/>
              <a:t>that the desired test response is achieved and potential race conditions identified</a:t>
            </a:r>
            <a:endParaRPr lang="en-US" kern="1100" dirty="0" smtClean="0"/>
          </a:p>
          <a:p>
            <a:pPr lvl="0">
              <a:lnSpc>
                <a:spcPct val="80000"/>
              </a:lnSpc>
              <a:spcBef>
                <a:spcPts val="100"/>
              </a:spcBef>
              <a:spcAft>
                <a:spcPts val="300"/>
              </a:spcAft>
              <a:buSzPts val="800"/>
              <a:buFont typeface="Symbol"/>
              <a:buChar char=""/>
              <a:tabLst>
                <a:tab pos="228600" algn="l"/>
                <a:tab pos="274320" algn="l"/>
              </a:tabLst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C6FAFE2-17AE-4314-84C1-EEB4D21D1C3A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59749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- Testing resource bi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components that are bound later than compile time can be tested in the late bound </a:t>
            </a:r>
            <a:r>
              <a:rPr lang="en-US" dirty="0" smtClean="0"/>
              <a:t>context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E.g. loading a driver on-demand</a:t>
            </a:r>
            <a:endParaRPr lang="en-US" dirty="0"/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late bindings can be captured in the event of a failure, so that you can re-create the system’s state leading to the failure.  </a:t>
            </a:r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the full range of binding possibilities can be tested.</a:t>
            </a:r>
            <a:endParaRPr lang="en-US" dirty="0">
              <a:latin typeface="Times"/>
              <a:ea typeface="Times New Roman"/>
              <a:cs typeface="Times New Roman"/>
            </a:endParaRP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3B5D9F3-DC3A-40F0-B496-B2A7D8A85D48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594528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r>
              <a:rPr lang="en-US" dirty="0" smtClean="0"/>
              <a:t>Design Checklist- Resource Manag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ere are sufficient resources available to execute a test suite and capture the </a:t>
            </a:r>
            <a:r>
              <a:rPr lang="en-US" dirty="0" smtClean="0"/>
              <a:t>results </a:t>
            </a:r>
            <a:endParaRPr lang="en-US" dirty="0"/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your test environment is representative of the environment in which the system will </a:t>
            </a:r>
            <a:r>
              <a:rPr lang="en-US" dirty="0" smtClean="0"/>
              <a:t>run   </a:t>
            </a:r>
            <a:endParaRPr lang="en-US" dirty="0"/>
          </a:p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Ensure that the system provides the means </a:t>
            </a:r>
            <a:r>
              <a:rPr lang="en-US" dirty="0" smtClean="0"/>
              <a:t>to: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kern="1100" dirty="0" smtClean="0"/>
              <a:t>test </a:t>
            </a:r>
            <a:r>
              <a:rPr lang="en-US" kern="1100" dirty="0"/>
              <a:t>resource limits </a:t>
            </a:r>
            <a:endParaRPr lang="en-US" kern="1100" dirty="0" smtClean="0"/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kern="1100" dirty="0" smtClean="0"/>
              <a:t>capture </a:t>
            </a:r>
            <a:r>
              <a:rPr lang="en-US" kern="1100" dirty="0"/>
              <a:t>detailed resource usage for analysis in the event of a </a:t>
            </a:r>
            <a:r>
              <a:rPr lang="en-US" kern="1100" dirty="0" smtClean="0"/>
              <a:t>failure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kern="1100" dirty="0" smtClean="0"/>
              <a:t>inject </a:t>
            </a:r>
            <a:r>
              <a:rPr lang="en-US" kern="1100" dirty="0"/>
              <a:t>new resources limits into the system for the purposes of </a:t>
            </a:r>
            <a:r>
              <a:rPr lang="en-US" kern="1100" dirty="0" smtClean="0"/>
              <a:t>testing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kern="1100" dirty="0" smtClean="0"/>
              <a:t>provide </a:t>
            </a:r>
            <a:r>
              <a:rPr lang="en-US" kern="1100" dirty="0"/>
              <a:t>virtualized resources for testing</a:t>
            </a:r>
            <a:endParaRPr lang="en-US" kern="1100" dirty="0">
              <a:latin typeface="Times New Roman"/>
              <a:ea typeface="Times New Roman"/>
            </a:endParaRP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A89299A-533C-4C1B-9F76-02794679F5AE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919469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oice of Too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Determine what tools are available to help achieve the testability scenarios </a:t>
            </a:r>
            <a:endParaRPr lang="en-US" dirty="0" smtClean="0"/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Do </a:t>
            </a:r>
            <a:r>
              <a:rPr lang="en-US" dirty="0"/>
              <a:t>you have regression testing, fault injection, recording and playback supports from the testing tools?</a:t>
            </a:r>
          </a:p>
          <a:p>
            <a:pPr marL="0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Does </a:t>
            </a:r>
            <a:r>
              <a:rPr lang="en-US" dirty="0"/>
              <a:t>your choice of tools support the type of testing you intend to carry on?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You </a:t>
            </a:r>
            <a:r>
              <a:rPr lang="en-US" dirty="0"/>
              <a:t>may want a fault-injection but you need to have a tool that can support the level of fault-injection you want</a:t>
            </a:r>
          </a:p>
          <a:p>
            <a:pPr marL="400050" lvl="1"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Does </a:t>
            </a:r>
            <a:r>
              <a:rPr lang="en-US" dirty="0"/>
              <a:t>it support capturing and injecting  the data-state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E55DF4F-73D3-46D8-A775-10F42A643E0D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254415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What is Testability</a:t>
            </a:r>
            <a:endParaRPr lang="en-IN" altLang="en-US" dirty="0" smtClean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</p:nvPr>
        </p:nvGraphicFramePr>
        <p:xfrm>
          <a:off x="304800" y="1371600"/>
          <a:ext cx="83820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8947D0A-72E2-4588-8B2C-6D73A47553BC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1736079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83D180C-73E9-B840-BD72-21C9A69F198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>
                                            <p:graphicEl>
                                              <a:dgm id="{983D180C-73E9-B840-BD72-21C9A69F198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2A089A2-C59E-5A4A-8729-7B5E014A41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7">
                                            <p:graphicEl>
                                              <a:dgm id="{12A089A2-C59E-5A4A-8729-7B5E014A41E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0574FA96-6485-5141-915A-756F924053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7">
                                            <p:graphicEl>
                                              <a:dgm id="{0574FA96-6485-5141-915A-756F924053C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E8B1F90D-8D78-0C4F-A35F-F6EA2218C4D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7">
                                            <p:graphicEl>
                                              <a:dgm id="{E8B1F90D-8D78-0C4F-A35F-F6EA2218C4D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3D3425A9-412E-8749-AD02-D2AB764B99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7">
                                            <p:graphicEl>
                                              <a:dgm id="{3D3425A9-412E-8749-AD02-D2AB764B990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696B9C42-2FBB-4D47-9581-36943B2552D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7">
                                            <p:graphicEl>
                                              <a:dgm id="{696B9C42-2FBB-4D47-9581-36943B2552D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Dgm bld="one"/>
        </p:bldSub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able Softwa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5040560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n-US" dirty="0" err="1"/>
              <a:t>Dijkstra’s</a:t>
            </a:r>
            <a:r>
              <a:rPr lang="en-US" dirty="0"/>
              <a:t> Thesis</a:t>
            </a:r>
          </a:p>
          <a:p>
            <a:pPr algn="ctr"/>
            <a:r>
              <a:rPr lang="en-US" dirty="0"/>
              <a:t>Test can’t guarantee the absence of errors, but it can only show their presence.</a:t>
            </a:r>
          </a:p>
          <a:p>
            <a:pPr eaLnBrk="1" hangingPunct="1"/>
            <a:r>
              <a:rPr lang="en-US" altLang="en-US" dirty="0"/>
              <a:t>Fault discovery is a probability </a:t>
            </a:r>
          </a:p>
          <a:p>
            <a:pPr lvl="1" eaLnBrk="1" hangingPunct="1"/>
            <a:r>
              <a:rPr lang="en-US" altLang="en-US" dirty="0"/>
              <a:t>That the next test execution will fail and exhibit the </a:t>
            </a:r>
            <a:r>
              <a:rPr lang="en-US" altLang="en-US" dirty="0" smtClean="0"/>
              <a:t>fault</a:t>
            </a:r>
          </a:p>
          <a:p>
            <a:pPr lvl="1" eaLnBrk="1" hangingPunct="1"/>
            <a:endParaRPr lang="en-US" altLang="en-US" dirty="0"/>
          </a:p>
          <a:p>
            <a:pPr eaLnBrk="1" hangingPunct="1"/>
            <a:r>
              <a:rPr lang="en-US" altLang="en-US" dirty="0"/>
              <a:t>A perfectly testable code – each component’s internal state must be controllable through inputs and output must be </a:t>
            </a:r>
            <a:r>
              <a:rPr lang="en-US" altLang="en-US" dirty="0" smtClean="0"/>
              <a:t>observable</a:t>
            </a:r>
          </a:p>
          <a:p>
            <a:pPr eaLnBrk="1" hangingPunct="1"/>
            <a:endParaRPr lang="en-US" dirty="0" smtClean="0"/>
          </a:p>
          <a:p>
            <a:pPr algn="ctr" eaLnBrk="1" hangingPunct="1"/>
            <a:r>
              <a:rPr lang="en-US" dirty="0" smtClean="0"/>
              <a:t>Error-free </a:t>
            </a:r>
            <a:r>
              <a:rPr lang="en-US" dirty="0"/>
              <a:t>software does not exist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6F0DF1-7763-488B-9A39-347CA021FFA4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7571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2BF86ED-33B2-4F6D-B069-8577A7E748C8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ability Scenari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52400" y="2133600"/>
            <a:ext cx="1524000" cy="28194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WHO</a:t>
            </a:r>
            <a:endParaRPr lang="en-US" sz="1400" u="sng" dirty="0" smtClean="0">
              <a:solidFill>
                <a:schemeClr val="tx1"/>
              </a:solidFill>
            </a:endParaRPr>
          </a:p>
          <a:p>
            <a:pPr algn="ctr"/>
            <a:endParaRPr lang="en-US" sz="1000" u="sng" dirty="0" smtClean="0">
              <a:solidFill>
                <a:schemeClr val="tx1"/>
              </a:solidFill>
            </a:endParaRP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/>
              <a:t>Unit tester (typically unit developers)</a:t>
            </a: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Integration tester</a:t>
            </a: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System tester or client acceptance team</a:t>
            </a: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System user</a:t>
            </a:r>
          </a:p>
        </p:txBody>
      </p:sp>
      <p:sp>
        <p:nvSpPr>
          <p:cNvPr id="8" name="Rectangle 7"/>
          <p:cNvSpPr/>
          <p:nvPr/>
        </p:nvSpPr>
        <p:spPr>
          <a:xfrm>
            <a:off x="1828800" y="2133600"/>
            <a:ext cx="1600200" cy="28194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STIMULUS</a:t>
            </a:r>
          </a:p>
          <a:p>
            <a:endParaRPr lang="en-US" sz="1600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1600" b="1" dirty="0" smtClean="0"/>
              <a:t>Milestone in the development process is met</a:t>
            </a:r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Completion of design</a:t>
            </a:r>
            <a:endParaRPr lang="en-US" sz="1400" dirty="0">
              <a:solidFill>
                <a:schemeClr val="tx1"/>
              </a:solidFill>
            </a:endParaRPr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Completion of coding</a:t>
            </a:r>
          </a:p>
          <a:p>
            <a:pPr marL="274320" lvl="1" indent="-91440">
              <a:buFont typeface="Wingdings" panose="05000000000000000000" pitchFamily="2" charset="2"/>
              <a:buChar char="ü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Completion of integra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505200" y="1676400"/>
            <a:ext cx="1524000" cy="342495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rIns="0" anchor="b" anchorCtr="1"/>
          <a:lstStyle/>
          <a:p>
            <a:pPr algn="ctr">
              <a:defRPr/>
            </a:pPr>
            <a:r>
              <a:rPr lang="en-US" sz="1600" u="sng" dirty="0" smtClean="0"/>
              <a:t>IMPACTED PART</a:t>
            </a:r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buFont typeface="Arial" pitchFamily="34" charset="0"/>
              <a:buChar char="•"/>
              <a:defRPr/>
            </a:pPr>
            <a:endParaRPr lang="en-US" sz="1600" dirty="0" smtClean="0"/>
          </a:p>
          <a:p>
            <a:pPr>
              <a:buFont typeface="Arial" pitchFamily="34" charset="0"/>
              <a:buChar char="•"/>
              <a:defRPr/>
            </a:pPr>
            <a:endParaRPr lang="en-US" sz="1600" dirty="0"/>
          </a:p>
          <a:p>
            <a:pPr>
              <a:buFont typeface="Arial" pitchFamily="34" charset="0"/>
              <a:buChar char="•"/>
              <a:defRPr/>
            </a:pPr>
            <a:endParaRPr lang="en-US" sz="1600" dirty="0" smtClean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Design time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Development time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Compile time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Integration time</a:t>
            </a:r>
            <a:endParaRPr lang="en-US" sz="1600" dirty="0"/>
          </a:p>
        </p:txBody>
      </p:sp>
      <p:sp>
        <p:nvSpPr>
          <p:cNvPr id="10" name="Rectangle 9"/>
          <p:cNvSpPr/>
          <p:nvPr/>
        </p:nvSpPr>
        <p:spPr>
          <a:xfrm>
            <a:off x="5181600" y="1447800"/>
            <a:ext cx="1864424" cy="366698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RESPONSE ACTION</a:t>
            </a:r>
          </a:p>
          <a:p>
            <a:pPr algn="ctr"/>
            <a:endParaRPr lang="en-US" sz="1600" u="sng" dirty="0">
              <a:solidFill>
                <a:schemeClr val="tx1"/>
              </a:solidFill>
            </a:endParaRP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Prepare test environment</a:t>
            </a: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Access state values</a:t>
            </a: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Access computed valu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162800" y="1447800"/>
            <a:ext cx="1828801" cy="366698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EASURABLE RESPONSE</a:t>
            </a:r>
          </a:p>
          <a:p>
            <a:pPr algn="ctr"/>
            <a:endParaRPr lang="en-US" sz="1400" u="sng" dirty="0">
              <a:solidFill>
                <a:schemeClr val="tx1"/>
              </a:solidFill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%executable statements executed (code coverage)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ime to test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ime to prepare test environment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Length of longest dependency chain in test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Probability of failure if fault exist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586350" y="2375435"/>
            <a:ext cx="1344878" cy="1142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Component or whole system</a:t>
            </a: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3286" y="5807280"/>
            <a:ext cx="1403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 unit tester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676400" y="5681667"/>
            <a:ext cx="17526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Performs unit test</a:t>
            </a:r>
            <a:endParaRPr lang="en-US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7168738" y="5453582"/>
            <a:ext cx="18288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Coverage of 85% is achieved in 2 hours</a:t>
            </a:r>
            <a:endParaRPr lang="en-US" sz="1600" dirty="0"/>
          </a:p>
        </p:txBody>
      </p:sp>
      <p:sp>
        <p:nvSpPr>
          <p:cNvPr id="17" name="TextBox 16"/>
          <p:cNvSpPr txBox="1"/>
          <p:nvPr/>
        </p:nvSpPr>
        <p:spPr>
          <a:xfrm>
            <a:off x="3495800" y="5284304"/>
            <a:ext cx="15259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omponent that has controllable interface</a:t>
            </a:r>
          </a:p>
          <a:p>
            <a:r>
              <a:rPr lang="en-US" sz="1400" dirty="0" smtClean="0"/>
              <a:t>After component is complete</a:t>
            </a:r>
            <a:endParaRPr lang="en-US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5181600" y="5508831"/>
            <a:ext cx="18644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Observe the output for inputs provided</a:t>
            </a:r>
            <a:endParaRPr lang="en-US" sz="1600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653536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000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0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0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000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000"/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0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2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0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0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0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2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20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20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20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20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20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20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2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allAtOnce" animBg="1"/>
      <p:bldP spid="8" grpId="0" build="allAtOnce" animBg="1"/>
      <p:bldP spid="9" grpId="0" build="allAtOnce" animBg="1"/>
      <p:bldP spid="10" grpId="0" build="allAtOnce" animBg="1"/>
      <p:bldP spid="11" grpId="0" build="allAtOnce" animBg="1"/>
      <p:bldP spid="12" grpId="0" build="allAtOnce" animBg="1"/>
      <p:bldP spid="13" grpId="0" build="allAtOnce"/>
      <p:bldP spid="14" grpId="0" build="allAtOnce"/>
      <p:bldP spid="16" grpId="0" build="allAtOnce"/>
      <p:bldP spid="17" grpId="0" build="allAtOnce"/>
      <p:bldP spid="18" grpId="0" build="allAtOnce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 of Testability Tac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Using testability tactics </a:t>
            </a:r>
            <a:r>
              <a:rPr lang="en-US" dirty="0"/>
              <a:t>the architect </a:t>
            </a:r>
            <a:r>
              <a:rPr lang="en-US" dirty="0" smtClean="0"/>
              <a:t>should aim </a:t>
            </a:r>
            <a:r>
              <a:rPr lang="en-US" dirty="0"/>
              <a:t>to reduce the high cost of </a:t>
            </a:r>
            <a:r>
              <a:rPr lang="en-US" dirty="0" smtClean="0"/>
              <a:t>testing when the software is modified</a:t>
            </a:r>
          </a:p>
          <a:p>
            <a:r>
              <a:rPr lang="en-US" dirty="0" smtClean="0"/>
              <a:t>Two </a:t>
            </a:r>
            <a:r>
              <a:rPr lang="en-US" dirty="0"/>
              <a:t>categories of </a:t>
            </a:r>
            <a:r>
              <a:rPr lang="en-US" dirty="0" smtClean="0"/>
              <a:t>tactics</a:t>
            </a:r>
          </a:p>
          <a:p>
            <a:pPr lvl="1"/>
            <a:r>
              <a:rPr lang="en-US" dirty="0" smtClean="0"/>
              <a:t>Introducing </a:t>
            </a:r>
            <a:r>
              <a:rPr lang="en-US" dirty="0"/>
              <a:t>controllability and </a:t>
            </a:r>
            <a:r>
              <a:rPr lang="en-US" dirty="0" err="1"/>
              <a:t>observability</a:t>
            </a:r>
            <a:r>
              <a:rPr lang="en-US" dirty="0"/>
              <a:t> to the </a:t>
            </a:r>
            <a:r>
              <a:rPr lang="en-US" dirty="0" smtClean="0"/>
              <a:t>system during design  </a:t>
            </a:r>
          </a:p>
          <a:p>
            <a:pPr lvl="1"/>
            <a:r>
              <a:rPr lang="en-US" dirty="0" smtClean="0"/>
              <a:t>The </a:t>
            </a:r>
            <a:r>
              <a:rPr lang="en-US" dirty="0"/>
              <a:t>second deals with limiting complexity in the system’s </a:t>
            </a:r>
            <a:r>
              <a:rPr lang="en-US" dirty="0" smtClean="0"/>
              <a:t>design </a:t>
            </a:r>
            <a:endParaRPr lang="en-US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87DDC7B-F85B-4F29-86AB-B14B66758CF4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386378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ability Tactic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D5E256-6982-4B48-AE6F-65148451585D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="" val="1033906198"/>
              </p:ext>
            </p:extLst>
          </p:nvPr>
        </p:nvGraphicFramePr>
        <p:xfrm>
          <a:off x="304800" y="1262416"/>
          <a:ext cx="83820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550639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AD90FEA-3135-49C2-A3C0-CFEDDC6405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>
                                            <p:graphicEl>
                                              <a:dgm id="{1AD90FEA-3135-49C2-A3C0-CFEDDC6405B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3BC68A0-CABF-4126-884C-C90818E1E26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7">
                                            <p:graphicEl>
                                              <a:dgm id="{A3BC68A0-CABF-4126-884C-C90818E1E26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E5C4910-D5C2-4117-9825-0F4E2308A1D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7">
                                            <p:graphicEl>
                                              <a:dgm id="{5E5C4910-D5C2-4117-9825-0F4E2308A1D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83ED5F7-10A0-45C9-B814-5804FA7691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7">
                                            <p:graphicEl>
                                              <a:dgm id="{A83ED5F7-10A0-45C9-B814-5804FA76917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064D61A-5C37-497D-A6F5-6312AB6E3F5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7">
                                            <p:graphicEl>
                                              <a:dgm id="{1064D61A-5C37-497D-A6F5-6312AB6E3F5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2B3E9C0-0CE1-4B88-9E71-F7CE1A7F99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7">
                                            <p:graphicEl>
                                              <a:dgm id="{A2B3E9C0-0CE1-4B88-9E71-F7CE1A7F99D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77E27D0-EFD7-495B-9E1A-5A5371B8AB8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7">
                                            <p:graphicEl>
                                              <a:dgm id="{A77E27D0-EFD7-495B-9E1A-5A5371B8AB8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0C84909-550F-4BDC-8966-B86E5E1786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7">
                                            <p:graphicEl>
                                              <a:dgm id="{50C84909-550F-4BDC-8966-B86E5E1786A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84A4F3B-0A00-4E5A-9092-1922B8A7FAB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7">
                                            <p:graphicEl>
                                              <a:dgm id="{984A4F3B-0A00-4E5A-9092-1922B8A7FAB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6262AD45-37CE-4E4E-81E1-98A75BFFED3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000"/>
                                        <p:tgtEl>
                                          <p:spTgt spid="7">
                                            <p:graphicEl>
                                              <a:dgm id="{6262AD45-37CE-4E4E-81E1-98A75BFFED3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E8D3E92A-0794-4DFF-ADF5-83A9F9869BD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7">
                                            <p:graphicEl>
                                              <a:dgm id="{E8D3E92A-0794-4DFF-ADF5-83A9F9869BD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0AD99682-343B-4485-A14B-DE65F037093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7">
                                            <p:graphicEl>
                                              <a:dgm id="{0AD99682-343B-4485-A14B-DE65F037093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3E484CC-77C3-47AE-B304-C3AADDD9ACD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7">
                                            <p:graphicEl>
                                              <a:dgm id="{A3E484CC-77C3-47AE-B304-C3AADDD9ACD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90C0E8E-9146-4FF8-9E81-E2F73D38D30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000"/>
                                        <p:tgtEl>
                                          <p:spTgt spid="7">
                                            <p:graphicEl>
                                              <a:dgm id="{590C0E8E-9146-4FF8-9E81-E2F73D38D30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BFAB0065-46B4-4707-8B1B-5AD5D852CD7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000"/>
                                        <p:tgtEl>
                                          <p:spTgt spid="7">
                                            <p:graphicEl>
                                              <a:dgm id="{BFAB0065-46B4-4707-8B1B-5AD5D852CD7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6956835-3386-449C-A89B-65F7C68024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000"/>
                                        <p:tgtEl>
                                          <p:spTgt spid="7">
                                            <p:graphicEl>
                                              <a:dgm id="{96956835-3386-449C-A89B-65F7C680246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F0ED6141-24DB-4164-A2D4-B51E750525C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000"/>
                                        <p:tgtEl>
                                          <p:spTgt spid="7">
                                            <p:graphicEl>
                                              <a:dgm id="{F0ED6141-24DB-4164-A2D4-B51E750525C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CC07306D-4BD7-4477-BB61-A954489058D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000"/>
                                        <p:tgtEl>
                                          <p:spTgt spid="7">
                                            <p:graphicEl>
                                              <a:dgm id="{CC07306D-4BD7-4477-BB61-A954489058D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CBCDE87F-FA6C-44B8-A9C2-1E747BE7F7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0"/>
                                        <p:tgtEl>
                                          <p:spTgt spid="7">
                                            <p:graphicEl>
                                              <a:dgm id="{CBCDE87F-FA6C-44B8-A9C2-1E747BE7F73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C137CAE9-66E1-459B-A733-9B53B02E07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2000"/>
                                        <p:tgtEl>
                                          <p:spTgt spid="7">
                                            <p:graphicEl>
                                              <a:dgm id="{C137CAE9-66E1-459B-A733-9B53B02E07A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5F2589C-C16C-45F2-9A3D-F2A6CB2476D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2000"/>
                                        <p:tgtEl>
                                          <p:spTgt spid="7">
                                            <p:graphicEl>
                                              <a:dgm id="{A5F2589C-C16C-45F2-9A3D-F2A6CB2476D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EDC7120-FE6F-49D8-95F2-AB1B2B6AC9A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2000"/>
                                        <p:tgtEl>
                                          <p:spTgt spid="7">
                                            <p:graphicEl>
                                              <a:dgm id="{AEDC7120-FE6F-49D8-95F2-AB1B2B6AC9A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6E033C69-6BA8-4812-AE4E-0022A986E94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2000"/>
                                        <p:tgtEl>
                                          <p:spTgt spid="7">
                                            <p:graphicEl>
                                              <a:dgm id="{6E033C69-6BA8-4812-AE4E-0022A986E94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28E82B1A-B1F2-4CC5-9B64-B60015CBF62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2000"/>
                                        <p:tgtEl>
                                          <p:spTgt spid="7">
                                            <p:graphicEl>
                                              <a:dgm id="{28E82B1A-B1F2-4CC5-9B64-B60015CBF62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428A54D9-43F6-47B6-B3A2-FDCE09CB5A9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000"/>
                                        <p:tgtEl>
                                          <p:spTgt spid="7">
                                            <p:graphicEl>
                                              <a:dgm id="{428A54D9-43F6-47B6-B3A2-FDCE09CB5A9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Dgm bld="one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ntrol and Observe System St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lvl="0"/>
            <a:r>
              <a:rPr lang="en-US" dirty="0" smtClean="0"/>
              <a:t>Specialized Interfaces for testing: </a:t>
            </a:r>
          </a:p>
          <a:p>
            <a:pPr lvl="1"/>
            <a:r>
              <a:rPr lang="en-US" dirty="0" smtClean="0"/>
              <a:t>to control </a:t>
            </a:r>
            <a:r>
              <a:rPr lang="en-US" dirty="0"/>
              <a:t>or capture variable values for a component either through a test harness or through normal </a:t>
            </a:r>
            <a:r>
              <a:rPr lang="en-US" dirty="0" smtClean="0"/>
              <a:t>execution.</a:t>
            </a:r>
          </a:p>
          <a:p>
            <a:pPr lvl="1"/>
            <a:r>
              <a:rPr lang="en-US" dirty="0" smtClean="0"/>
              <a:t>Use a special interface that a test harness can use</a:t>
            </a:r>
          </a:p>
          <a:p>
            <a:pPr lvl="1"/>
            <a:r>
              <a:rPr lang="en-US" dirty="0" smtClean="0"/>
              <a:t>Make use of some metadata through this special interface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Record/Playback: </a:t>
            </a:r>
            <a:r>
              <a:rPr lang="en-US" dirty="0"/>
              <a:t>capturing information crossing an interface and using it as input for further </a:t>
            </a:r>
            <a:r>
              <a:rPr lang="en-US" dirty="0" smtClean="0"/>
              <a:t>testing.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Localize State Storage: </a:t>
            </a:r>
            <a:r>
              <a:rPr lang="en-US" dirty="0"/>
              <a:t>To start a system, subsystem, or module in an arbitrary state for a test, it is most convenient if that state is stored in a single </a:t>
            </a:r>
            <a:r>
              <a:rPr lang="en-US" dirty="0" smtClean="0"/>
              <a:t>place.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3128776-9AC8-4C34-9B53-C675F95EF1E9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263402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ntrol and Observe System St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lvl="0"/>
            <a:r>
              <a:rPr lang="en-US" dirty="0" smtClean="0"/>
              <a:t>Interface and implementation</a:t>
            </a:r>
          </a:p>
          <a:p>
            <a:pPr lvl="1"/>
            <a:r>
              <a:rPr lang="en-US" dirty="0" smtClean="0"/>
              <a:t>If they are separated, implementation can be replaced by a stub for testing rest of the system</a:t>
            </a:r>
          </a:p>
          <a:p>
            <a:pPr lvl="0"/>
            <a:r>
              <a:rPr lang="en-US" dirty="0" smtClean="0"/>
              <a:t>Sandbox: isolate the </a:t>
            </a:r>
            <a:r>
              <a:rPr lang="en-US" dirty="0"/>
              <a:t>system from the real world to enable experimentation that is unconstrained by the worry about having to undo the consequences of the </a:t>
            </a:r>
            <a:r>
              <a:rPr lang="en-US" dirty="0" smtClean="0"/>
              <a:t>experiment.</a:t>
            </a:r>
          </a:p>
          <a:p>
            <a:pPr lvl="0"/>
            <a:r>
              <a:rPr lang="en-US" dirty="0" smtClean="0"/>
              <a:t>Executable Assertions: </a:t>
            </a:r>
            <a:r>
              <a:rPr lang="en-US" dirty="0"/>
              <a:t>assertions are (usually) hand coded and placed at desired locations to indicate when and where a program is in a faulty </a:t>
            </a:r>
            <a:r>
              <a:rPr lang="en-US" dirty="0" smtClean="0"/>
              <a:t>state.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2B845B8-76C3-4AE9-AFB2-C457F9706A72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846137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Manage Complex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US" dirty="0" smtClean="0"/>
              <a:t>Limit Structural Complexity: </a:t>
            </a:r>
          </a:p>
          <a:p>
            <a:pPr lvl="1"/>
            <a:r>
              <a:rPr lang="en-US" dirty="0" smtClean="0"/>
              <a:t>avoiding </a:t>
            </a:r>
            <a:r>
              <a:rPr lang="en-US" dirty="0"/>
              <a:t>or resolving cyclic dependencies between components, </a:t>
            </a:r>
            <a:endParaRPr lang="en-US" dirty="0" smtClean="0"/>
          </a:p>
          <a:p>
            <a:pPr lvl="1"/>
            <a:r>
              <a:rPr lang="en-US" dirty="0" smtClean="0"/>
              <a:t>isolating </a:t>
            </a:r>
            <a:r>
              <a:rPr lang="en-US" dirty="0"/>
              <a:t>and encapsulating dependencies on the external </a:t>
            </a:r>
            <a:r>
              <a:rPr lang="en-US" dirty="0" smtClean="0"/>
              <a:t>environment</a:t>
            </a:r>
          </a:p>
          <a:p>
            <a:pPr lvl="1"/>
            <a:r>
              <a:rPr lang="en-US" dirty="0" smtClean="0"/>
              <a:t>reducing </a:t>
            </a:r>
            <a:r>
              <a:rPr lang="en-US" dirty="0"/>
              <a:t>dependencies between components in </a:t>
            </a:r>
            <a:r>
              <a:rPr lang="en-US" dirty="0" smtClean="0"/>
              <a:t>general.</a:t>
            </a:r>
          </a:p>
          <a:p>
            <a:pPr lvl="0"/>
            <a:r>
              <a:rPr lang="en-US" dirty="0" smtClean="0"/>
              <a:t>Limit Non-determinism: </a:t>
            </a:r>
            <a:r>
              <a:rPr lang="en-US" dirty="0"/>
              <a:t>finding all the sources of non-determinism, such as unconstrained parallelism, and </a:t>
            </a:r>
            <a:r>
              <a:rPr lang="en-US" dirty="0" smtClean="0"/>
              <a:t>remove them </a:t>
            </a:r>
            <a:r>
              <a:rPr lang="en-US" dirty="0"/>
              <a:t>out as far as </a:t>
            </a:r>
            <a:r>
              <a:rPr lang="en-US" dirty="0" smtClean="0"/>
              <a:t>possibl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2802F19-F76D-4B86-8446-83F3CBDAEDD7}" type="datetime1">
              <a:rPr lang="en-US" smtClean="0"/>
              <a:pPr>
                <a:defRPr/>
              </a:pPr>
              <a:t>5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val="4111622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853</TotalTime>
  <Words>1137</Words>
  <Application>Microsoft Macintosh PowerPoint</Application>
  <PresentationFormat>On-screen Show (4:3)</PresentationFormat>
  <Paragraphs>197</Paragraphs>
  <Slides>16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Office Theme</vt:lpstr>
      <vt:lpstr>think-cell Slide</vt:lpstr>
      <vt:lpstr>SS ZG653 (RL 6.2): Software Architecture  Testability and Its Tactics</vt:lpstr>
      <vt:lpstr>What is Testability</vt:lpstr>
      <vt:lpstr>Testable Software</vt:lpstr>
      <vt:lpstr>Testability Scenario</vt:lpstr>
      <vt:lpstr>Goal of Testability Tactics</vt:lpstr>
      <vt:lpstr>Testability Tactics</vt:lpstr>
      <vt:lpstr>Control and Observe System State</vt:lpstr>
      <vt:lpstr>Control and Observe System State</vt:lpstr>
      <vt:lpstr>Manage Complexity</vt:lpstr>
      <vt:lpstr>Internal Monitoring</vt:lpstr>
      <vt:lpstr>Design Checklist- Allocation of Responsibility</vt:lpstr>
      <vt:lpstr>Design Checklist- Testing Data</vt:lpstr>
      <vt:lpstr>Design Checklist- Testing Infrastructure</vt:lpstr>
      <vt:lpstr>Design Checklist- Testing resource binding</vt:lpstr>
      <vt:lpstr>Design Checklist- Resource Management</vt:lpstr>
      <vt:lpstr>Choice of Tool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tudio</cp:lastModifiedBy>
  <cp:revision>629</cp:revision>
  <dcterms:created xsi:type="dcterms:W3CDTF">2015-05-27T08:02:54Z</dcterms:created>
  <dcterms:modified xsi:type="dcterms:W3CDTF">2015-05-27T09:25:35Z</dcterms:modified>
</cp:coreProperties>
</file>